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0.xml" ContentType="application/vnd.openxmlformats-officedocument.themeOverride+xml"/>
  <Override PartName="/ppt/notesSlides/notesSlide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1.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2.xml" ContentType="application/vnd.openxmlformats-officedocument.themeOverride+xml"/>
  <Override PartName="/ppt/notesSlides/notesSlide3.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3.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4.xml" ContentType="application/vnd.openxmlformats-officedocument.themeOverride+xml"/>
  <Override PartName="/ppt/notesSlides/notesSlide4.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5.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6.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7.xml" ContentType="application/vnd.openxmlformats-officedocument.themeOverride+xml"/>
  <Override PartName="/ppt/notesSlides/notesSlide5.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8.xml" ContentType="application/vnd.openxmlformats-officedocument.themeOverr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9.xml" ContentType="application/vnd.openxmlformats-officedocument.themeOverr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0.xml" ContentType="application/vnd.openxmlformats-officedocument.themeOverride+xml"/>
  <Override PartName="/ppt/comments/comment1.xml" ContentType="application/vnd.openxmlformats-officedocument.presentationml.comments+xml"/>
  <Override PartName="/ppt/notesSlides/notesSlide6.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1.xml" ContentType="application/vnd.openxmlformats-officedocument.themeOverr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2.xml" ContentType="application/vnd.openxmlformats-officedocument.themeOverr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3.xml" ContentType="application/vnd.openxmlformats-officedocument.themeOverride+xml"/>
  <Override PartName="/ppt/notesSlides/notesSlide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4.xml" ContentType="application/vnd.openxmlformats-officedocument.themeOverr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5.xml" ContentType="application/vnd.openxmlformats-officedocument.themeOverr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1"/>
  </p:notesMasterIdLst>
  <p:sldIdLst>
    <p:sldId id="415" r:id="rId2"/>
    <p:sldId id="397" r:id="rId3"/>
    <p:sldId id="399" r:id="rId4"/>
    <p:sldId id="392" r:id="rId5"/>
    <p:sldId id="395" r:id="rId6"/>
    <p:sldId id="396" r:id="rId7"/>
    <p:sldId id="391" r:id="rId8"/>
    <p:sldId id="406" r:id="rId9"/>
    <p:sldId id="401" r:id="rId10"/>
    <p:sldId id="402" r:id="rId11"/>
    <p:sldId id="403" r:id="rId12"/>
    <p:sldId id="404" r:id="rId13"/>
    <p:sldId id="405" r:id="rId14"/>
    <p:sldId id="414" r:id="rId15"/>
    <p:sldId id="408" r:id="rId16"/>
    <p:sldId id="409" r:id="rId17"/>
    <p:sldId id="410" r:id="rId18"/>
    <p:sldId id="411" r:id="rId19"/>
    <p:sldId id="41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n, Hazel" initials="WH" lastIdx="1" clrIdx="0">
    <p:extLst>
      <p:ext uri="{19B8F6BF-5375-455C-9EA6-DF929625EA0E}">
        <p15:presenceInfo xmlns:p15="http://schemas.microsoft.com/office/powerpoint/2012/main" userId="S::hwon@sjusd.org::ee665721-e9da-4581-9403-22b795a5d5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616"/>
    <p:restoredTop sz="94653"/>
  </p:normalViewPr>
  <p:slideViewPr>
    <p:cSldViewPr snapToGrid="0" snapToObjects="1">
      <p:cViewPr varScale="1">
        <p:scale>
          <a:sx n="84" d="100"/>
          <a:sy n="84" d="100"/>
        </p:scale>
        <p:origin x="208" y="9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Users/hwon/Desktop/Southern%20Water%20Corp%20Case%20Study%20(Part%20I)/Southern%20Water%20Corp%20Financial%20Case%20Study-Hazel%20Won(complet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Users/hwon/Desktop/Southern%20Water%20Corp%20Case%20Study%20(Part%20I)/Southern%20Water%20Corp%20Financial%20Case%20Study-Hazel%20Won(complete).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oleObject" Target="file:////Users/hwon/Desktop/Data%20Analyst%20Coursework/Southern%20Water%20Corp%20Case%20Study/Part%20II%20(Unit%207)/Southern%20Water%20Corp%20Economics%20Case%20Study_Hazel%20Won%20v2.xlsx" TargetMode="Externa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oleObject" Target="file:////Users/hwon/Desktop/Data%20Analyst%20Coursework/Southern%20Water%20Corp%20Case%20Study/Part%20III%20(Unit%208)/Hazel_SWC%20Statistical%20Analysis.xlsx" TargetMode="External"/></Relationships>
</file>

<file path=ppt/charts/_rels/chart29.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30.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II%20(Unit%208)/Hazel_SWC%20Statistical%20Analysis.xlsx" TargetMode="External"/><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Users/hwon/Desktop/Southern%20Water%20Corp%20Case%20Study%20(Part%20I)/Southern%20Water%20Corp%20Financial%20Case%20Study-Hazel%20Won(complete).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Users/hwon/Desktop/Data%20Analyst%20Coursework/Southern%20Water%20Corp%20Case%20Study/Part%20I%20(Unit%205)/Southern%20Water%20Corp%20Financial%20Case%20Study-Hazel%20Won(complete).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Users/hwon/Desktop/Southern%20Water%20Corp%20Case%20Study%20(Part%20I)/Southern%20Water%20Corp%20Financial%20Case%20Study-Hazel%20Won(complete).xlsx" TargetMode="External"/></Relationships>
</file>

<file path=ppt/charts/_rels/chart9.xml.rels><?xml version="1.0" encoding="UTF-8" standalone="yes"?>
<Relationships xmlns="http://schemas.openxmlformats.org/package/2006/relationships"><Relationship Id="rId3" Type="http://schemas.openxmlformats.org/officeDocument/2006/relationships/oleObject" Target="file:////Users/hwon/Desktop/Data%20Analyst%20Coursework/Southern%20Water%20Corp%20Case%20Study/Part%20I%20(Unit%205)/Southern%20Water%20Corp%20Financial%20Case%20Study-Hazel%20Won(complete).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Overall Contribution from Each Sales Segment</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Revenue Analysis'!$B$58</c:f>
              <c:strCache>
                <c:ptCount val="1"/>
                <c:pt idx="0">
                  <c:v>001 Private Water Hedge Sales</c:v>
                </c:pt>
              </c:strCache>
            </c:strRef>
          </c:tx>
          <c:spPr>
            <a:solidFill>
              <a:schemeClr val="accent1"/>
            </a:solidFill>
            <a:ln>
              <a:noFill/>
            </a:ln>
            <a:effectLst/>
          </c:spPr>
          <c:invertIfNegative val="0"/>
          <c:dLbls>
            <c:dLbl>
              <c:idx val="0"/>
              <c:tx>
                <c:rich>
                  <a:bodyPr/>
                  <a:lstStyle/>
                  <a:p>
                    <a:r>
                      <a:rPr lang="en-US"/>
                      <a:t>52.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9F7-C54C-ACFC-01796465223D}"/>
                </c:ext>
              </c:extLst>
            </c:dLbl>
            <c:dLbl>
              <c:idx val="1"/>
              <c:tx>
                <c:rich>
                  <a:bodyPr/>
                  <a:lstStyle/>
                  <a:p>
                    <a:r>
                      <a:rPr lang="en-US"/>
                      <a:t>40.8%</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F7-C54C-ACFC-01796465223D}"/>
                </c:ext>
              </c:extLst>
            </c:dLbl>
            <c:dLbl>
              <c:idx val="2"/>
              <c:tx>
                <c:rich>
                  <a:bodyPr/>
                  <a:lstStyle/>
                  <a:p>
                    <a:r>
                      <a:rPr lang="en-US" baseline="0"/>
                      <a:t>41.5%</a:t>
                    </a:r>
                    <a:endParaRPr lang="en-US"/>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F7-C54C-ACFC-01796465223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B$59:$B$61</c:f>
              <c:numCache>
                <c:formatCode>_([$$-409]* #,##0.00_);_([$$-409]* \(#,##0.00\);_([$$-409]* "-"??_);_(@_)</c:formatCode>
                <c:ptCount val="3"/>
                <c:pt idx="0">
                  <c:v>37118738.908649988</c:v>
                </c:pt>
                <c:pt idx="1">
                  <c:v>82448062.153750017</c:v>
                </c:pt>
                <c:pt idx="2">
                  <c:v>67860510.573750004</c:v>
                </c:pt>
              </c:numCache>
            </c:numRef>
          </c:val>
          <c:extLst>
            <c:ext xmlns:c16="http://schemas.microsoft.com/office/drawing/2014/chart" uri="{C3380CC4-5D6E-409C-BE32-E72D297353CC}">
              <c16:uniqueId val="{00000003-19F7-C54C-ACFC-01796465223D}"/>
            </c:ext>
          </c:extLst>
        </c:ser>
        <c:ser>
          <c:idx val="1"/>
          <c:order val="1"/>
          <c:tx>
            <c:strRef>
              <c:f>'Revenue Analysis'!$C$58</c:f>
              <c:strCache>
                <c:ptCount val="1"/>
                <c:pt idx="0">
                  <c:v>002 Public Sales</c:v>
                </c:pt>
              </c:strCache>
            </c:strRef>
          </c:tx>
          <c:spPr>
            <a:solidFill>
              <a:schemeClr val="accent2"/>
            </a:solidFill>
            <a:ln>
              <a:noFill/>
            </a:ln>
            <a:effectLst/>
          </c:spPr>
          <c:invertIfNegative val="0"/>
          <c:dLbls>
            <c:dLbl>
              <c:idx val="0"/>
              <c:tx>
                <c:rich>
                  <a:bodyPr/>
                  <a:lstStyle/>
                  <a:p>
                    <a:r>
                      <a:rPr lang="en-US" baseline="0"/>
                      <a:t>25.8%</a:t>
                    </a:r>
                    <a:endParaRPr lang="en-US"/>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9F7-C54C-ACFC-01796465223D}"/>
                </c:ext>
              </c:extLst>
            </c:dLbl>
            <c:dLbl>
              <c:idx val="1"/>
              <c:tx>
                <c:rich>
                  <a:bodyPr/>
                  <a:lstStyle/>
                  <a:p>
                    <a:r>
                      <a:rPr lang="en-US"/>
                      <a:t>34.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F7-C54C-ACFC-01796465223D}"/>
                </c:ext>
              </c:extLst>
            </c:dLbl>
            <c:dLbl>
              <c:idx val="2"/>
              <c:tx>
                <c:rich>
                  <a:bodyPr/>
                  <a:lstStyle/>
                  <a:p>
                    <a:r>
                      <a:rPr lang="en-US"/>
                      <a:t>35.5%</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9F7-C54C-ACFC-01796465223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C$59:$C$61</c:f>
              <c:numCache>
                <c:formatCode>_([$$-409]* #,##0.00_);_([$$-409]* \(#,##0.00\);_([$$-409]* "-"??_);_(@_)</c:formatCode>
                <c:ptCount val="3"/>
                <c:pt idx="0">
                  <c:v>18271699.227782957</c:v>
                </c:pt>
                <c:pt idx="1">
                  <c:v>70562398.047100008</c:v>
                </c:pt>
                <c:pt idx="2">
                  <c:v>58098022.074299999</c:v>
                </c:pt>
              </c:numCache>
            </c:numRef>
          </c:val>
          <c:extLst>
            <c:ext xmlns:c16="http://schemas.microsoft.com/office/drawing/2014/chart" uri="{C3380CC4-5D6E-409C-BE32-E72D297353CC}">
              <c16:uniqueId val="{00000007-19F7-C54C-ACFC-01796465223D}"/>
            </c:ext>
          </c:extLst>
        </c:ser>
        <c:ser>
          <c:idx val="2"/>
          <c:order val="2"/>
          <c:tx>
            <c:strRef>
              <c:f>'Revenue Analysis'!$D$58</c:f>
              <c:strCache>
                <c:ptCount val="1"/>
                <c:pt idx="0">
                  <c:v>003 Residential Sales</c:v>
                </c:pt>
              </c:strCache>
            </c:strRef>
          </c:tx>
          <c:spPr>
            <a:solidFill>
              <a:schemeClr val="accent3"/>
            </a:solidFill>
            <a:ln>
              <a:noFill/>
            </a:ln>
            <a:effectLst/>
          </c:spPr>
          <c:invertIfNegative val="0"/>
          <c:dLbls>
            <c:dLbl>
              <c:idx val="0"/>
              <c:tx>
                <c:rich>
                  <a:bodyPr/>
                  <a:lstStyle/>
                  <a:p>
                    <a:r>
                      <a:rPr lang="en-US"/>
                      <a:t>21.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F7-C54C-ACFC-01796465223D}"/>
                </c:ext>
              </c:extLst>
            </c:dLbl>
            <c:dLbl>
              <c:idx val="1"/>
              <c:tx>
                <c:rich>
                  <a:bodyPr/>
                  <a:lstStyle/>
                  <a:p>
                    <a:r>
                      <a:rPr lang="en-US"/>
                      <a:t>24.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F7-C54C-ACFC-01796465223D}"/>
                </c:ext>
              </c:extLst>
            </c:dLbl>
            <c:dLbl>
              <c:idx val="2"/>
              <c:tx>
                <c:rich>
                  <a:bodyPr/>
                  <a:lstStyle/>
                  <a:p>
                    <a:r>
                      <a:rPr lang="en-US"/>
                      <a:t>23.0%</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9F7-C54C-ACFC-01796465223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D$59:$D$61</c:f>
              <c:numCache>
                <c:formatCode>_([$$-409]* #,##0.00_);_([$$-409]* \(#,##0.00\);_([$$-409]* "-"??_);_(@_)</c:formatCode>
                <c:ptCount val="3"/>
                <c:pt idx="0">
                  <c:v>15554519.161720002</c:v>
                </c:pt>
                <c:pt idx="1">
                  <c:v>49244888.96814999</c:v>
                </c:pt>
                <c:pt idx="2">
                  <c:v>37706692.728949994</c:v>
                </c:pt>
              </c:numCache>
            </c:numRef>
          </c:val>
          <c:extLst>
            <c:ext xmlns:c16="http://schemas.microsoft.com/office/drawing/2014/chart" uri="{C3380CC4-5D6E-409C-BE32-E72D297353CC}">
              <c16:uniqueId val="{0000000B-19F7-C54C-ACFC-01796465223D}"/>
            </c:ext>
          </c:extLst>
        </c:ser>
        <c:dLbls>
          <c:dLblPos val="ctr"/>
          <c:showLegendKey val="0"/>
          <c:showVal val="1"/>
          <c:showCatName val="0"/>
          <c:showSerName val="0"/>
          <c:showPercent val="0"/>
          <c:showBubbleSize val="0"/>
        </c:dLbls>
        <c:gapWidth val="79"/>
        <c:overlap val="100"/>
        <c:axId val="1053241472"/>
        <c:axId val="1052738480"/>
      </c:barChart>
      <c:catAx>
        <c:axId val="10532414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cap="all" spc="120" normalizeH="0" baseline="0">
                <a:solidFill>
                  <a:schemeClr val="tx1">
                    <a:lumMod val="65000"/>
                    <a:lumOff val="35000"/>
                  </a:schemeClr>
                </a:solidFill>
                <a:latin typeface="+mn-lt"/>
                <a:ea typeface="+mn-ea"/>
                <a:cs typeface="+mn-cs"/>
              </a:defRPr>
            </a:pPr>
            <a:endParaRPr lang="en-US"/>
          </a:p>
        </c:txPr>
        <c:crossAx val="1052738480"/>
        <c:crosses val="autoZero"/>
        <c:auto val="1"/>
        <c:lblAlgn val="ctr"/>
        <c:lblOffset val="100"/>
        <c:noMultiLvlLbl val="0"/>
      </c:catAx>
      <c:valAx>
        <c:axId val="1052738480"/>
        <c:scaling>
          <c:orientation val="minMax"/>
        </c:scaling>
        <c:delete val="1"/>
        <c:axPos val="l"/>
        <c:numFmt formatCode="0%" sourceLinked="1"/>
        <c:majorTickMark val="none"/>
        <c:minorTickMark val="none"/>
        <c:tickLblPos val="nextTo"/>
        <c:crossAx val="105324147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Jutik Expenses (July '13-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2"/>
            </a:solidFill>
            <a:ln>
              <a:noFill/>
            </a:ln>
            <a:effectLst/>
          </c:spPr>
          <c:invertIfNegative val="0"/>
          <c:dPt>
            <c:idx val="2"/>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1-4651-FD48-99BD-A4E706393A8A}"/>
              </c:ext>
            </c:extLst>
          </c:dPt>
          <c:dPt>
            <c:idx val="3"/>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4651-FD48-99BD-A4E706393A8A}"/>
              </c:ext>
            </c:extLst>
          </c:dPt>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5-4651-FD48-99BD-A4E706393A8A}"/>
              </c:ext>
            </c:extLst>
          </c:dPt>
          <c:dPt>
            <c:idx val="5"/>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7-4651-FD48-99BD-A4E706393A8A}"/>
              </c:ext>
            </c:extLst>
          </c:dPt>
          <c:dPt>
            <c:idx val="6"/>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9-4651-FD48-99BD-A4E706393A8A}"/>
              </c:ext>
            </c:extLst>
          </c:dPt>
          <c:dPt>
            <c:idx val="7"/>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B-4651-FD48-99BD-A4E706393A8A}"/>
              </c:ext>
            </c:extLst>
          </c:dPt>
          <c:dLbls>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651-FD48-99BD-A4E706393A8A}"/>
                </c:ext>
              </c:extLst>
            </c:dLbl>
            <c:dLbl>
              <c:idx val="1"/>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651-FD48-99BD-A4E706393A8A}"/>
                </c:ext>
              </c:extLst>
            </c:dLbl>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Q$79:$Q$86</c:f>
              <c:strCache>
                <c:ptCount val="8"/>
                <c:pt idx="0">
                  <c:v>Labour</c:v>
                </c:pt>
                <c:pt idx="1">
                  <c:v>Chemical Expenses</c:v>
                </c:pt>
                <c:pt idx="2">
                  <c:v>Heating</c:v>
                </c:pt>
                <c:pt idx="3">
                  <c:v>Electricty</c:v>
                </c:pt>
                <c:pt idx="4">
                  <c:v>Plant Maintenance</c:v>
                </c:pt>
                <c:pt idx="5">
                  <c:v>Plant Op. Costs</c:v>
                </c:pt>
                <c:pt idx="6">
                  <c:v>Plant Outages</c:v>
                </c:pt>
                <c:pt idx="7">
                  <c:v>Plant Admin Costs</c:v>
                </c:pt>
              </c:strCache>
            </c:strRef>
          </c:cat>
          <c:val>
            <c:numRef>
              <c:f>'Expenses Analysis'!$R$79:$R$86</c:f>
              <c:numCache>
                <c:formatCode>_([$$-409]* #,##0.00_);_([$$-409]* \(#,##0.00\);_([$$-409]* "-"??_);_(@_)</c:formatCode>
                <c:ptCount val="8"/>
                <c:pt idx="0">
                  <c:v>29638834.095899999</c:v>
                </c:pt>
                <c:pt idx="1">
                  <c:v>21961819.498855624</c:v>
                </c:pt>
                <c:pt idx="2">
                  <c:v>10834063.805491872</c:v>
                </c:pt>
                <c:pt idx="3">
                  <c:v>10031540.560640626</c:v>
                </c:pt>
                <c:pt idx="4">
                  <c:v>8667251.0443934985</c:v>
                </c:pt>
                <c:pt idx="5">
                  <c:v>5505359.0464859996</c:v>
                </c:pt>
                <c:pt idx="6">
                  <c:v>2219902.8413250004</c:v>
                </c:pt>
                <c:pt idx="7">
                  <c:v>1864718.386713</c:v>
                </c:pt>
              </c:numCache>
            </c:numRef>
          </c:val>
          <c:extLst>
            <c:ext xmlns:c16="http://schemas.microsoft.com/office/drawing/2014/chart" uri="{C3380CC4-5D6E-409C-BE32-E72D297353CC}">
              <c16:uniqueId val="{0000000E-4651-FD48-99BD-A4E706393A8A}"/>
            </c:ext>
          </c:extLst>
        </c:ser>
        <c:dLbls>
          <c:showLegendKey val="0"/>
          <c:showVal val="0"/>
          <c:showCatName val="0"/>
          <c:showSerName val="0"/>
          <c:showPercent val="0"/>
          <c:showBubbleSize val="0"/>
        </c:dLbls>
        <c:gapWidth val="25"/>
        <c:overlap val="-27"/>
        <c:axId val="1087486816"/>
        <c:axId val="971046400"/>
      </c:barChart>
      <c:catAx>
        <c:axId val="108748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71046400"/>
        <c:crosses val="autoZero"/>
        <c:auto val="1"/>
        <c:lblAlgn val="ctr"/>
        <c:lblOffset val="100"/>
        <c:noMultiLvlLbl val="0"/>
      </c:catAx>
      <c:valAx>
        <c:axId val="971046400"/>
        <c:scaling>
          <c:orientation val="minMax"/>
          <c:max val="30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0874868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dirty="0" err="1"/>
              <a:t>Kootha</a:t>
            </a:r>
            <a:r>
              <a:rPr lang="en-US" sz="1800" b="1" dirty="0"/>
              <a:t> Chemical Expenditure vs Water Production Actuals</a:t>
            </a:r>
          </a:p>
        </c:rich>
      </c:tx>
      <c:layout>
        <c:manualLayout>
          <c:xMode val="edge"/>
          <c:yMode val="edge"/>
          <c:x val="0.1150113006707494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50827720471436E-2"/>
          <c:y val="0.20777056397596852"/>
          <c:w val="0.85022540592417295"/>
          <c:h val="0.76362746890461852"/>
        </c:manualLayout>
      </c:layout>
      <c:barChart>
        <c:barDir val="col"/>
        <c:grouping val="clustered"/>
        <c:varyColors val="0"/>
        <c:ser>
          <c:idx val="0"/>
          <c:order val="0"/>
          <c:tx>
            <c:strRef>
              <c:f>'Expenses Analysis'!$AB$110</c:f>
              <c:strCache>
                <c:ptCount val="1"/>
                <c:pt idx="0">
                  <c:v>Kootha</c:v>
                </c:pt>
              </c:strCache>
            </c:strRef>
          </c:tx>
          <c:spPr>
            <a:solidFill>
              <a:schemeClr val="accent5"/>
            </a:solidFill>
            <a:ln>
              <a:noFill/>
            </a:ln>
            <a:effectLst/>
          </c:spPr>
          <c:invertIfNegative val="0"/>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B$111:$AB$131</c:f>
              <c:numCache>
                <c:formatCode>_([$$-409]* #,##0.00_);_([$$-409]* \(#,##0.00\);_([$$-409]* "-"??_);_(@_)</c:formatCode>
                <c:ptCount val="21"/>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0917-A740-A5CD-53F0B742DC9C}"/>
            </c:ext>
          </c:extLst>
        </c:ser>
        <c:dLbls>
          <c:showLegendKey val="0"/>
          <c:showVal val="0"/>
          <c:showCatName val="0"/>
          <c:showSerName val="0"/>
          <c:showPercent val="0"/>
          <c:showBubbleSize val="0"/>
        </c:dLbls>
        <c:gapWidth val="150"/>
        <c:axId val="670526928"/>
        <c:axId val="670609744"/>
      </c:barChart>
      <c:lineChart>
        <c:grouping val="standard"/>
        <c:varyColors val="0"/>
        <c:ser>
          <c:idx val="3"/>
          <c:order val="1"/>
          <c:tx>
            <c:strRef>
              <c:f>'Expenses Analysis'!$AE$110</c:f>
              <c:strCache>
                <c:ptCount val="1"/>
                <c:pt idx="0">
                  <c:v>Kootha (Giga-Litres)</c:v>
                </c:pt>
              </c:strCache>
            </c:strRef>
          </c:tx>
          <c:spPr>
            <a:ln w="28575" cap="rnd">
              <a:solidFill>
                <a:schemeClr val="accent5">
                  <a:lumMod val="50000"/>
                </a:schemeClr>
              </a:solidFill>
              <a:round/>
            </a:ln>
            <a:effectLst/>
          </c:spPr>
          <c:marker>
            <c:symbol val="none"/>
          </c:marker>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E$111:$AE$131</c:f>
              <c:numCache>
                <c:formatCode>_(* #,##0.00_);_(* \(#,##0.00\);_(* "-"??_);_(@_)</c:formatCode>
                <c:ptCount val="21"/>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1-0917-A740-A5CD-53F0B742DC9C}"/>
            </c:ext>
          </c:extLst>
        </c:ser>
        <c:dLbls>
          <c:showLegendKey val="0"/>
          <c:showVal val="0"/>
          <c:showCatName val="0"/>
          <c:showSerName val="0"/>
          <c:showPercent val="0"/>
          <c:showBubbleSize val="0"/>
        </c:dLbls>
        <c:marker val="1"/>
        <c:smooth val="0"/>
        <c:axId val="676718064"/>
        <c:axId val="670528976"/>
      </c:lineChart>
      <c:dateAx>
        <c:axId val="67052692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0609744"/>
        <c:crosses val="autoZero"/>
        <c:auto val="1"/>
        <c:lblOffset val="100"/>
        <c:baseTimeUnit val="months"/>
      </c:dateAx>
      <c:valAx>
        <c:axId val="670609744"/>
        <c:scaling>
          <c:orientation val="minMax"/>
          <c:max val="1300000"/>
        </c:scaling>
        <c:delete val="0"/>
        <c:axPos val="l"/>
        <c:majorGridlines>
          <c:spPr>
            <a:ln w="9525" cap="flat" cmpd="sng" algn="ctr">
              <a:solidFill>
                <a:schemeClr val="tx1">
                  <a:lumMod val="15000"/>
                  <a:lumOff val="85000"/>
                </a:schemeClr>
              </a:solidFill>
              <a:round/>
            </a:ln>
            <a:effectLst/>
          </c:spPr>
        </c:majorGridlines>
        <c:numFmt formatCode="_([$$-409]* #,##0.00_);_([$$-409]* \(#,##0.00\);_([$$-409]*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670526928"/>
        <c:crosses val="autoZero"/>
        <c:crossBetween val="between"/>
        <c:dispUnits>
          <c:builtInUnit val="millions"/>
        </c:dispUnits>
      </c:valAx>
      <c:valAx>
        <c:axId val="670528976"/>
        <c:scaling>
          <c:orientation val="minMax"/>
          <c:max val="400"/>
        </c:scaling>
        <c:delete val="0"/>
        <c:axPos val="r"/>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6718064"/>
        <c:crosses val="max"/>
        <c:crossBetween val="between"/>
      </c:valAx>
      <c:dateAx>
        <c:axId val="676718064"/>
        <c:scaling>
          <c:orientation val="minMax"/>
        </c:scaling>
        <c:delete val="1"/>
        <c:axPos val="b"/>
        <c:numFmt formatCode="mmm\-yy" sourceLinked="1"/>
        <c:majorTickMark val="out"/>
        <c:minorTickMark val="none"/>
        <c:tickLblPos val="nextTo"/>
        <c:crossAx val="670528976"/>
        <c:crosses val="autoZero"/>
        <c:auto val="1"/>
        <c:lblOffset val="100"/>
        <c:baseTimeUnit val="month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dirty="0" err="1">
                <a:effectLst/>
              </a:rPr>
              <a:t>Surjek</a:t>
            </a:r>
            <a:r>
              <a:rPr lang="en-US" sz="1800" b="1" i="0" baseline="0" dirty="0">
                <a:effectLst/>
              </a:rPr>
              <a:t> Chemical Expenditure vs Water Production Actuals</a:t>
            </a:r>
            <a:endParaRPr lang="en-US" sz="2000" dirty="0">
              <a:effectLst/>
            </a:endParaRPr>
          </a:p>
        </c:rich>
      </c:tx>
      <c:layout>
        <c:manualLayout>
          <c:xMode val="edge"/>
          <c:yMode val="edge"/>
          <c:x val="0.18465515221843284"/>
          <c:y val="9.4030454391064878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396232327139442"/>
          <c:y val="0.21287833629856734"/>
          <c:w val="0.62070063290224231"/>
          <c:h val="0.69295413347911206"/>
        </c:manualLayout>
      </c:layout>
      <c:barChart>
        <c:barDir val="col"/>
        <c:grouping val="clustered"/>
        <c:varyColors val="0"/>
        <c:ser>
          <c:idx val="1"/>
          <c:order val="0"/>
          <c:tx>
            <c:strRef>
              <c:f>'Expenses Analysis'!$AC$110</c:f>
              <c:strCache>
                <c:ptCount val="1"/>
                <c:pt idx="0">
                  <c:v>Surjek</c:v>
                </c:pt>
              </c:strCache>
            </c:strRef>
          </c:tx>
          <c:spPr>
            <a:solidFill>
              <a:schemeClr val="accent6"/>
            </a:solidFill>
            <a:ln>
              <a:noFill/>
            </a:ln>
            <a:effectLst/>
          </c:spPr>
          <c:invertIfNegative val="0"/>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C$111:$AC$131</c:f>
              <c:numCache>
                <c:formatCode>_([$$-409]* #,##0.00_);_([$$-409]* \(#,##0.00\);_([$$-409]* "-"??_);_(@_)</c:formatCode>
                <c:ptCount val="21"/>
                <c:pt idx="0">
                  <c:v>2533034.5131168002</c:v>
                </c:pt>
                <c:pt idx="1">
                  <c:v>3051574.1625600001</c:v>
                </c:pt>
                <c:pt idx="2">
                  <c:v>3084202.7580672004</c:v>
                </c:pt>
                <c:pt idx="3">
                  <c:v>4135202.765971201</c:v>
                </c:pt>
                <c:pt idx="4">
                  <c:v>4473275.8948415993</c:v>
                </c:pt>
                <c:pt idx="5">
                  <c:v>3464957.9260800011</c:v>
                </c:pt>
                <c:pt idx="6">
                  <c:v>4049642.8266000003</c:v>
                </c:pt>
                <c:pt idx="7">
                  <c:v>4767948.2214000002</c:v>
                </c:pt>
                <c:pt idx="8">
                  <c:v>4346722.8083999995</c:v>
                </c:pt>
                <c:pt idx="9">
                  <c:v>4671541.1274000006</c:v>
                </c:pt>
                <c:pt idx="10">
                  <c:v>5478104.6040000012</c:v>
                </c:pt>
                <c:pt idx="11">
                  <c:v>2269805.1667200001</c:v>
                </c:pt>
              </c:numCache>
            </c:numRef>
          </c:val>
          <c:extLst>
            <c:ext xmlns:c16="http://schemas.microsoft.com/office/drawing/2014/chart" uri="{C3380CC4-5D6E-409C-BE32-E72D297353CC}">
              <c16:uniqueId val="{00000000-5162-9541-9809-BDA87FBAAF0B}"/>
            </c:ext>
          </c:extLst>
        </c:ser>
        <c:dLbls>
          <c:showLegendKey val="0"/>
          <c:showVal val="0"/>
          <c:showCatName val="0"/>
          <c:showSerName val="0"/>
          <c:showPercent val="0"/>
          <c:showBubbleSize val="0"/>
        </c:dLbls>
        <c:gapWidth val="150"/>
        <c:axId val="670526928"/>
        <c:axId val="670609744"/>
      </c:barChart>
      <c:lineChart>
        <c:grouping val="standard"/>
        <c:varyColors val="0"/>
        <c:ser>
          <c:idx val="5"/>
          <c:order val="1"/>
          <c:tx>
            <c:strRef>
              <c:f>'Expenses Analysis'!$AG$110</c:f>
              <c:strCache>
                <c:ptCount val="1"/>
                <c:pt idx="0">
                  <c:v>Jutik (Giga-Litres)</c:v>
                </c:pt>
              </c:strCache>
            </c:strRef>
          </c:tx>
          <c:spPr>
            <a:ln w="28575" cap="rnd">
              <a:solidFill>
                <a:schemeClr val="accent6">
                  <a:lumMod val="50000"/>
                </a:schemeClr>
              </a:solidFill>
              <a:round/>
            </a:ln>
            <a:effectLst/>
          </c:spPr>
          <c:marker>
            <c:symbol val="none"/>
          </c:marker>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F$111:$AF$131</c:f>
              <c:numCache>
                <c:formatCode>_(* #,##0.00_);_(* \(#,##0.00\);_(* "-"??_);_(@_)</c:formatCode>
                <c:ptCount val="21"/>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1-5162-9541-9809-BDA87FBAAF0B}"/>
            </c:ext>
          </c:extLst>
        </c:ser>
        <c:dLbls>
          <c:showLegendKey val="0"/>
          <c:showVal val="0"/>
          <c:showCatName val="0"/>
          <c:showSerName val="0"/>
          <c:showPercent val="0"/>
          <c:showBubbleSize val="0"/>
        </c:dLbls>
        <c:marker val="1"/>
        <c:smooth val="0"/>
        <c:axId val="676718064"/>
        <c:axId val="670528976"/>
      </c:lineChart>
      <c:dateAx>
        <c:axId val="67052692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0609744"/>
        <c:crosses val="autoZero"/>
        <c:auto val="1"/>
        <c:lblOffset val="100"/>
        <c:baseTimeUnit val="months"/>
      </c:dateAx>
      <c:valAx>
        <c:axId val="670609744"/>
        <c:scaling>
          <c:orientation val="minMax"/>
        </c:scaling>
        <c:delete val="0"/>
        <c:axPos val="l"/>
        <c:majorGridlines>
          <c:spPr>
            <a:ln w="9525" cap="flat" cmpd="sng" algn="ctr">
              <a:solidFill>
                <a:schemeClr val="tx1">
                  <a:lumMod val="15000"/>
                  <a:lumOff val="85000"/>
                </a:schemeClr>
              </a:solidFill>
              <a:round/>
            </a:ln>
            <a:effectLst/>
          </c:spPr>
        </c:majorGridlines>
        <c:numFmt formatCode="_([$$-409]* #,##0.00_);_([$$-409]* \(#,##0.00\);_([$$-409]*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6705269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valAx>
        <c:axId val="670528976"/>
        <c:scaling>
          <c:orientation val="minMax"/>
          <c:max val="400"/>
        </c:scaling>
        <c:delete val="0"/>
        <c:axPos val="r"/>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6718064"/>
        <c:crosses val="max"/>
        <c:crossBetween val="between"/>
      </c:valAx>
      <c:dateAx>
        <c:axId val="676718064"/>
        <c:scaling>
          <c:orientation val="minMax"/>
        </c:scaling>
        <c:delete val="1"/>
        <c:axPos val="b"/>
        <c:numFmt formatCode="mmm\-yy" sourceLinked="1"/>
        <c:majorTickMark val="out"/>
        <c:minorTickMark val="none"/>
        <c:tickLblPos val="nextTo"/>
        <c:crossAx val="670528976"/>
        <c:crosses val="autoZero"/>
        <c:auto val="1"/>
        <c:lblOffset val="100"/>
        <c:baseTimeUnit val="month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dirty="0" err="1"/>
              <a:t>Jutik</a:t>
            </a:r>
            <a:r>
              <a:rPr lang="en-US" sz="1800" b="1" dirty="0"/>
              <a:t> Chemical</a:t>
            </a:r>
            <a:r>
              <a:rPr lang="en-US" sz="1800" b="1" baseline="0" dirty="0"/>
              <a:t> Expenditure vs Water Production Actuals</a:t>
            </a:r>
            <a:endParaRPr lang="en-US" sz="18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792178954610443"/>
          <c:y val="0.20839863099186562"/>
          <c:w val="0.59595414182818551"/>
          <c:h val="0.70177555959879556"/>
        </c:manualLayout>
      </c:layout>
      <c:barChart>
        <c:barDir val="col"/>
        <c:grouping val="clustered"/>
        <c:varyColors val="0"/>
        <c:ser>
          <c:idx val="2"/>
          <c:order val="0"/>
          <c:tx>
            <c:strRef>
              <c:f>'Expenses Analysis'!$AD$110</c:f>
              <c:strCache>
                <c:ptCount val="1"/>
                <c:pt idx="0">
                  <c:v>Jutik</c:v>
                </c:pt>
              </c:strCache>
            </c:strRef>
          </c:tx>
          <c:spPr>
            <a:solidFill>
              <a:schemeClr val="accent2"/>
            </a:solidFill>
            <a:ln>
              <a:noFill/>
            </a:ln>
            <a:effectLst/>
          </c:spPr>
          <c:invertIfNegative val="0"/>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D$111:$AD$131</c:f>
              <c:numCache>
                <c:formatCode>_([$$-409]* #,##0.00_);_([$$-409]* \(#,##0.00\);_([$$-409]* "-"??_);_(@_)</c:formatCode>
                <c:ptCount val="21"/>
                <c:pt idx="0">
                  <c:v>1625596.3356633</c:v>
                </c:pt>
                <c:pt idx="1">
                  <c:v>1295067.8472731998</c:v>
                </c:pt>
                <c:pt idx="2">
                  <c:v>1750624.8818057997</c:v>
                </c:pt>
                <c:pt idx="3">
                  <c:v>1472529.3869285996</c:v>
                </c:pt>
                <c:pt idx="4">
                  <c:v>1252200.4923928501</c:v>
                </c:pt>
                <c:pt idx="5">
                  <c:v>1406782.6738875001</c:v>
                </c:pt>
                <c:pt idx="6">
                  <c:v>1877449.5046125001</c:v>
                </c:pt>
                <c:pt idx="7">
                  <c:v>1912219.1750437501</c:v>
                </c:pt>
                <c:pt idx="8">
                  <c:v>2266625.1980531253</c:v>
                </c:pt>
                <c:pt idx="9">
                  <c:v>2234200.5744250002</c:v>
                </c:pt>
                <c:pt idx="10">
                  <c:v>2593715.6428375002</c:v>
                </c:pt>
                <c:pt idx="11">
                  <c:v>2274807.7859325004</c:v>
                </c:pt>
              </c:numCache>
            </c:numRef>
          </c:val>
          <c:extLst>
            <c:ext xmlns:c16="http://schemas.microsoft.com/office/drawing/2014/chart" uri="{C3380CC4-5D6E-409C-BE32-E72D297353CC}">
              <c16:uniqueId val="{00000000-168F-6A4B-9A0E-3D4D87FCEAEE}"/>
            </c:ext>
          </c:extLst>
        </c:ser>
        <c:dLbls>
          <c:showLegendKey val="0"/>
          <c:showVal val="0"/>
          <c:showCatName val="0"/>
          <c:showSerName val="0"/>
          <c:showPercent val="0"/>
          <c:showBubbleSize val="0"/>
        </c:dLbls>
        <c:gapWidth val="150"/>
        <c:axId val="670526928"/>
        <c:axId val="670609744"/>
      </c:barChart>
      <c:lineChart>
        <c:grouping val="standard"/>
        <c:varyColors val="0"/>
        <c:ser>
          <c:idx val="4"/>
          <c:order val="1"/>
          <c:tx>
            <c:strRef>
              <c:f>'Expenses Analysis'!$AF$110</c:f>
              <c:strCache>
                <c:ptCount val="1"/>
                <c:pt idx="0">
                  <c:v>Surjek (Giga-Litres)</c:v>
                </c:pt>
              </c:strCache>
            </c:strRef>
          </c:tx>
          <c:spPr>
            <a:ln w="28575" cap="rnd">
              <a:solidFill>
                <a:schemeClr val="accent2">
                  <a:lumMod val="50000"/>
                </a:schemeClr>
              </a:solidFill>
              <a:round/>
            </a:ln>
            <a:effectLst/>
          </c:spPr>
          <c:marker>
            <c:symbol val="none"/>
          </c:marker>
          <c:cat>
            <c:numRef>
              <c:f>'Expenses Analysis'!$AA$111:$AA$131</c:f>
              <c:numCache>
                <c:formatCode>mmm\-yy</c:formatCode>
                <c:ptCount val="21"/>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AG$111:$AG$131</c:f>
              <c:numCache>
                <c:formatCode>_(* #,##0.00_);_(* \(#,##0.00\);_(* "-"??_);_(@_)</c:formatCode>
                <c:ptCount val="21"/>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1-168F-6A4B-9A0E-3D4D87FCEAEE}"/>
            </c:ext>
          </c:extLst>
        </c:ser>
        <c:dLbls>
          <c:showLegendKey val="0"/>
          <c:showVal val="0"/>
          <c:showCatName val="0"/>
          <c:showSerName val="0"/>
          <c:showPercent val="0"/>
          <c:showBubbleSize val="0"/>
        </c:dLbls>
        <c:marker val="1"/>
        <c:smooth val="0"/>
        <c:axId val="676718064"/>
        <c:axId val="670528976"/>
      </c:lineChart>
      <c:dateAx>
        <c:axId val="67052692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0609744"/>
        <c:crosses val="autoZero"/>
        <c:auto val="1"/>
        <c:lblOffset val="100"/>
        <c:baseTimeUnit val="months"/>
      </c:dateAx>
      <c:valAx>
        <c:axId val="670609744"/>
        <c:scaling>
          <c:orientation val="minMax"/>
          <c:max val="3500000"/>
        </c:scaling>
        <c:delete val="0"/>
        <c:axPos val="l"/>
        <c:majorGridlines>
          <c:spPr>
            <a:ln w="9525" cap="flat" cmpd="sng" algn="ctr">
              <a:solidFill>
                <a:schemeClr val="tx1">
                  <a:lumMod val="15000"/>
                  <a:lumOff val="85000"/>
                </a:schemeClr>
              </a:solidFill>
              <a:round/>
            </a:ln>
            <a:effectLst/>
          </c:spPr>
        </c:majorGridlines>
        <c:numFmt formatCode="_([$$-409]* #,##0.00_);_([$$-409]* \(#,##0.00\);_([$$-409]*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6705269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valAx>
        <c:axId val="670528976"/>
        <c:scaling>
          <c:orientation val="minMax"/>
        </c:scaling>
        <c:delete val="0"/>
        <c:axPos val="r"/>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6718064"/>
        <c:crosses val="max"/>
        <c:crossBetween val="between"/>
      </c:valAx>
      <c:dateAx>
        <c:axId val="676718064"/>
        <c:scaling>
          <c:orientation val="minMax"/>
        </c:scaling>
        <c:delete val="1"/>
        <c:axPos val="b"/>
        <c:numFmt formatCode="mmm\-yy" sourceLinked="1"/>
        <c:majorTickMark val="out"/>
        <c:minorTickMark val="none"/>
        <c:tickLblPos val="nextTo"/>
        <c:crossAx val="670528976"/>
        <c:crosses val="autoZero"/>
        <c:auto val="1"/>
        <c:lblOffset val="100"/>
        <c:baseTimeUnit val="month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spc="50" baseline="0">
                <a:solidFill>
                  <a:schemeClr val="tx1">
                    <a:lumMod val="65000"/>
                    <a:lumOff val="35000"/>
                  </a:schemeClr>
                </a:solidFill>
                <a:latin typeface="+mn-lt"/>
                <a:ea typeface="+mn-ea"/>
                <a:cs typeface="+mn-cs"/>
              </a:defRPr>
            </a:pPr>
            <a:r>
              <a:rPr lang="en-US"/>
              <a:t>EBIT by Unit (Jul-13 to June-14)</a:t>
            </a:r>
          </a:p>
        </c:rich>
      </c:tx>
      <c:overlay val="0"/>
      <c:spPr>
        <a:noFill/>
        <a:ln>
          <a:noFill/>
        </a:ln>
        <a:effectLst/>
      </c:spPr>
      <c:txPr>
        <a:bodyPr rot="0" spcFirstLastPara="1" vertOverflow="ellipsis" vert="horz" wrap="square" anchor="ctr" anchorCtr="1"/>
        <a:lstStyle/>
        <a:p>
          <a:pPr>
            <a:defRPr sz="1800" b="1" i="0" u="none" strike="noStrike" kern="1200" cap="all" spc="5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EBIT Analysis'!$D$23</c:f>
              <c:strCache>
                <c:ptCount val="1"/>
                <c:pt idx="0">
                  <c:v>Kootha</c:v>
                </c:pt>
              </c:strCache>
            </c:strRef>
          </c:tx>
          <c:spPr>
            <a:solidFill>
              <a:srgbClr val="0070C0"/>
            </a:solidFill>
            <a:ln>
              <a:noFill/>
            </a:ln>
            <a:effectLst/>
          </c:spPr>
          <c:invertIfNegative val="0"/>
          <c:dLbls>
            <c:spPr>
              <a:solidFill>
                <a:srgbClr val="0070C0"/>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BIT Analysis'!$E$22:$P$2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3:$P$23</c:f>
              <c:numCache>
                <c:formatCode>"$"#,##0.00;[Red]\-"$"#,##0.00</c:formatCode>
                <c:ptCount val="12"/>
                <c:pt idx="0">
                  <c:v>2456292.3275362095</c:v>
                </c:pt>
                <c:pt idx="1">
                  <c:v>918310.88787430618</c:v>
                </c:pt>
                <c:pt idx="2">
                  <c:v>1519674.7670411356</c:v>
                </c:pt>
                <c:pt idx="3">
                  <c:v>1671126.6978958244</c:v>
                </c:pt>
                <c:pt idx="4">
                  <c:v>1867603.7439484252</c:v>
                </c:pt>
                <c:pt idx="5">
                  <c:v>1873668.8420387572</c:v>
                </c:pt>
                <c:pt idx="6">
                  <c:v>2572779.3705296321</c:v>
                </c:pt>
                <c:pt idx="7">
                  <c:v>2504531.9499788238</c:v>
                </c:pt>
                <c:pt idx="8">
                  <c:v>2888063.9198026378</c:v>
                </c:pt>
                <c:pt idx="9">
                  <c:v>912936.10019635595</c:v>
                </c:pt>
                <c:pt idx="10">
                  <c:v>702117.95209483802</c:v>
                </c:pt>
                <c:pt idx="11">
                  <c:v>-165973.35311146174</c:v>
                </c:pt>
              </c:numCache>
            </c:numRef>
          </c:val>
          <c:extLst>
            <c:ext xmlns:c16="http://schemas.microsoft.com/office/drawing/2014/chart" uri="{C3380CC4-5D6E-409C-BE32-E72D297353CC}">
              <c16:uniqueId val="{00000000-B95C-B04A-A1EA-9FE4842BBAB3}"/>
            </c:ext>
          </c:extLst>
        </c:ser>
        <c:ser>
          <c:idx val="1"/>
          <c:order val="1"/>
          <c:tx>
            <c:strRef>
              <c:f>'EBIT Analysis'!$D$24</c:f>
              <c:strCache>
                <c:ptCount val="1"/>
                <c:pt idx="0">
                  <c:v>Surjek</c:v>
                </c:pt>
              </c:strCache>
            </c:strRef>
          </c:tx>
          <c:spPr>
            <a:solidFill>
              <a:schemeClr val="accent6"/>
            </a:solidFill>
            <a:ln>
              <a:noFill/>
            </a:ln>
            <a:effectLst/>
          </c:spPr>
          <c:invertIfNegative val="0"/>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BIT Analysis'!$E$22:$P$2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4:$P$24</c:f>
              <c:numCache>
                <c:formatCode>"$"#,##0.00;[Red]\-"$"#,##0.00</c:formatCode>
                <c:ptCount val="12"/>
                <c:pt idx="0">
                  <c:v>5988499.8026137892</c:v>
                </c:pt>
                <c:pt idx="1">
                  <c:v>943434.10160639696</c:v>
                </c:pt>
                <c:pt idx="2">
                  <c:v>2328952.4387191646</c:v>
                </c:pt>
                <c:pt idx="3">
                  <c:v>-3360291.110331079</c:v>
                </c:pt>
                <c:pt idx="4">
                  <c:v>-6192464.2872408964</c:v>
                </c:pt>
                <c:pt idx="5">
                  <c:v>2604016.9804607946</c:v>
                </c:pt>
                <c:pt idx="6">
                  <c:v>8366591.2969236001</c:v>
                </c:pt>
                <c:pt idx="7">
                  <c:v>2112457.573284395</c:v>
                </c:pt>
                <c:pt idx="8">
                  <c:v>4631100.2007863969</c:v>
                </c:pt>
                <c:pt idx="9">
                  <c:v>2132931.991960397</c:v>
                </c:pt>
                <c:pt idx="10">
                  <c:v>-4294074.8102160059</c:v>
                </c:pt>
                <c:pt idx="11">
                  <c:v>7675095.9504671991</c:v>
                </c:pt>
              </c:numCache>
            </c:numRef>
          </c:val>
          <c:extLst>
            <c:ext xmlns:c16="http://schemas.microsoft.com/office/drawing/2014/chart" uri="{C3380CC4-5D6E-409C-BE32-E72D297353CC}">
              <c16:uniqueId val="{00000001-B95C-B04A-A1EA-9FE4842BBAB3}"/>
            </c:ext>
          </c:extLst>
        </c:ser>
        <c:ser>
          <c:idx val="2"/>
          <c:order val="2"/>
          <c:tx>
            <c:strRef>
              <c:f>'EBIT Analysis'!$D$25</c:f>
              <c:strCache>
                <c:ptCount val="1"/>
                <c:pt idx="0">
                  <c:v>Jutik</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EBIT Analysis'!$E$22:$P$2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5:$P$25</c:f>
              <c:numCache>
                <c:formatCode>"$"#,##0.00;[Red]\-"$"#,##0.00</c:formatCode>
                <c:ptCount val="12"/>
                <c:pt idx="0">
                  <c:v>4547848.2127075791</c:v>
                </c:pt>
                <c:pt idx="1">
                  <c:v>6542227.6080423184</c:v>
                </c:pt>
                <c:pt idx="2">
                  <c:v>4438176.8988530822</c:v>
                </c:pt>
                <c:pt idx="3">
                  <c:v>4415960.6020003622</c:v>
                </c:pt>
                <c:pt idx="4">
                  <c:v>5589126.5717249103</c:v>
                </c:pt>
                <c:pt idx="5">
                  <c:v>5264580.3424524991</c:v>
                </c:pt>
                <c:pt idx="6">
                  <c:v>8292411.5891714972</c:v>
                </c:pt>
                <c:pt idx="7">
                  <c:v>8295134.2778322492</c:v>
                </c:pt>
                <c:pt idx="8">
                  <c:v>5460903.0204648729</c:v>
                </c:pt>
                <c:pt idx="9">
                  <c:v>8279084.1609189995</c:v>
                </c:pt>
                <c:pt idx="10">
                  <c:v>6175874.2250345014</c:v>
                </c:pt>
                <c:pt idx="11">
                  <c:v>5640408.5879914984</c:v>
                </c:pt>
              </c:numCache>
            </c:numRef>
          </c:val>
          <c:extLst>
            <c:ext xmlns:c16="http://schemas.microsoft.com/office/drawing/2014/chart" uri="{C3380CC4-5D6E-409C-BE32-E72D297353CC}">
              <c16:uniqueId val="{00000002-B95C-B04A-A1EA-9FE4842BBAB3}"/>
            </c:ext>
          </c:extLst>
        </c:ser>
        <c:dLbls>
          <c:showLegendKey val="0"/>
          <c:showVal val="0"/>
          <c:showCatName val="0"/>
          <c:showSerName val="0"/>
          <c:showPercent val="0"/>
          <c:showBubbleSize val="0"/>
        </c:dLbls>
        <c:gapWidth val="50"/>
        <c:overlap val="100"/>
        <c:axId val="370047376"/>
        <c:axId val="369920800"/>
      </c:barChart>
      <c:dateAx>
        <c:axId val="370047376"/>
        <c:scaling>
          <c:orientation val="minMax"/>
        </c:scaling>
        <c:delete val="0"/>
        <c:axPos val="b"/>
        <c:numFmt formatCode="mmm\-yy" sourceLinked="1"/>
        <c:majorTickMark val="out"/>
        <c:minorTickMark val="none"/>
        <c:tickLblPos val="low"/>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9920800"/>
        <c:crosses val="autoZero"/>
        <c:auto val="0"/>
        <c:lblOffset val="100"/>
        <c:baseTimeUnit val="months"/>
      </c:dateAx>
      <c:valAx>
        <c:axId val="369920800"/>
        <c:scaling>
          <c:orientation val="minMax"/>
          <c:max val="20000000"/>
        </c:scaling>
        <c:delete val="0"/>
        <c:axPos val="l"/>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0047376"/>
        <c:crosses val="autoZero"/>
        <c:crossBetween val="between"/>
        <c:dispUnits>
          <c:builtInUnit val="millions"/>
          <c:dispUnitsLbl>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BIT Margin by Unit (Jul-13 to June-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BIT Analysis'!$D$56</c:f>
              <c:strCache>
                <c:ptCount val="1"/>
                <c:pt idx="0">
                  <c:v>Kootha</c:v>
                </c:pt>
              </c:strCache>
            </c:strRef>
          </c:tx>
          <c:spPr>
            <a:ln w="28575" cap="rnd">
              <a:solidFill>
                <a:srgbClr val="0070C0"/>
              </a:solidFill>
              <a:round/>
            </a:ln>
            <a:effectLst/>
          </c:spPr>
          <c:marker>
            <c:symbol val="circle"/>
            <c:size val="5"/>
            <c:spPr>
              <a:solidFill>
                <a:schemeClr val="accent1"/>
              </a:solidFill>
              <a:ln w="9525">
                <a:solidFill>
                  <a:schemeClr val="accent1"/>
                </a:solidFill>
              </a:ln>
              <a:effectLst/>
            </c:spPr>
          </c:marker>
          <c:cat>
            <c:strRef>
              <c:f>'EBIT Analysis'!$E$54:$P$55</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BIT Analysis'!$E$56:$P$56</c:f>
              <c:numCache>
                <c:formatCode>0%</c:formatCode>
                <c:ptCount val="12"/>
                <c:pt idx="0">
                  <c:v>0.41529437933894875</c:v>
                </c:pt>
                <c:pt idx="1">
                  <c:v>0.16120151183040166</c:v>
                </c:pt>
                <c:pt idx="2">
                  <c:v>0.28887410723655493</c:v>
                </c:pt>
                <c:pt idx="3">
                  <c:v>0.32001932998338012</c:v>
                </c:pt>
                <c:pt idx="4">
                  <c:v>0.33869312626258291</c:v>
                </c:pt>
                <c:pt idx="5">
                  <c:v>0.34820783846476255</c:v>
                </c:pt>
                <c:pt idx="6">
                  <c:v>0.32889058147025918</c:v>
                </c:pt>
                <c:pt idx="7">
                  <c:v>0.36170053874987812</c:v>
                </c:pt>
                <c:pt idx="8">
                  <c:v>0.3957450352355435</c:v>
                </c:pt>
                <c:pt idx="9">
                  <c:v>0.17121060352256295</c:v>
                </c:pt>
                <c:pt idx="10">
                  <c:v>0.13014434409940612</c:v>
                </c:pt>
                <c:pt idx="11">
                  <c:v>-3.2015452692863752E-2</c:v>
                </c:pt>
              </c:numCache>
            </c:numRef>
          </c:val>
          <c:smooth val="0"/>
          <c:extLst>
            <c:ext xmlns:c16="http://schemas.microsoft.com/office/drawing/2014/chart" uri="{C3380CC4-5D6E-409C-BE32-E72D297353CC}">
              <c16:uniqueId val="{00000000-CCF0-5E47-A00D-ED862073F377}"/>
            </c:ext>
          </c:extLst>
        </c:ser>
        <c:ser>
          <c:idx val="1"/>
          <c:order val="1"/>
          <c:tx>
            <c:strRef>
              <c:f>'EBIT Analysis'!$D$57</c:f>
              <c:strCache>
                <c:ptCount val="1"/>
                <c:pt idx="0">
                  <c:v>Surjek</c:v>
                </c:pt>
              </c:strCache>
            </c:strRef>
          </c:tx>
          <c:spPr>
            <a:ln w="28575" cap="rnd">
              <a:solidFill>
                <a:schemeClr val="accent6"/>
              </a:solidFill>
              <a:round/>
            </a:ln>
            <a:effectLst/>
          </c:spPr>
          <c:marker>
            <c:symbol val="circle"/>
            <c:size val="5"/>
            <c:spPr>
              <a:solidFill>
                <a:srgbClr val="92D050"/>
              </a:solidFill>
              <a:ln w="9525">
                <a:solidFill>
                  <a:schemeClr val="accent2"/>
                </a:solidFill>
              </a:ln>
              <a:effectLst/>
            </c:spPr>
          </c:marker>
          <c:cat>
            <c:strRef>
              <c:f>'EBIT Analysis'!$E$54:$P$55</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BIT Analysis'!$E$57:$P$57</c:f>
              <c:numCache>
                <c:formatCode>0%</c:formatCode>
                <c:ptCount val="12"/>
                <c:pt idx="0">
                  <c:v>0.3455956940538133</c:v>
                </c:pt>
                <c:pt idx="1">
                  <c:v>6.4599684274176436E-2</c:v>
                </c:pt>
                <c:pt idx="2">
                  <c:v>0.14433359289184161</c:v>
                </c:pt>
                <c:pt idx="3">
                  <c:v>-0.22177748431522884</c:v>
                </c:pt>
                <c:pt idx="4">
                  <c:v>-0.44766201795834271</c:v>
                </c:pt>
                <c:pt idx="5">
                  <c:v>0.16732145063494736</c:v>
                </c:pt>
                <c:pt idx="6">
                  <c:v>0.37427618015254988</c:v>
                </c:pt>
                <c:pt idx="7">
                  <c:v>0.11368942332287189</c:v>
                </c:pt>
                <c:pt idx="8">
                  <c:v>0.23574321478746135</c:v>
                </c:pt>
                <c:pt idx="9">
                  <c:v>0.11675504697526991</c:v>
                </c:pt>
                <c:pt idx="10">
                  <c:v>-0.29356581548975247</c:v>
                </c:pt>
                <c:pt idx="11">
                  <c:v>0.47482161130642109</c:v>
                </c:pt>
              </c:numCache>
            </c:numRef>
          </c:val>
          <c:smooth val="0"/>
          <c:extLst>
            <c:ext xmlns:c16="http://schemas.microsoft.com/office/drawing/2014/chart" uri="{C3380CC4-5D6E-409C-BE32-E72D297353CC}">
              <c16:uniqueId val="{00000001-CCF0-5E47-A00D-ED862073F377}"/>
            </c:ext>
          </c:extLst>
        </c:ser>
        <c:ser>
          <c:idx val="2"/>
          <c:order val="2"/>
          <c:tx>
            <c:strRef>
              <c:f>'EBIT Analysis'!$D$58</c:f>
              <c:strCache>
                <c:ptCount val="1"/>
                <c:pt idx="0">
                  <c:v>Jutik</c:v>
                </c:pt>
              </c:strCache>
            </c:strRef>
          </c:tx>
          <c:spPr>
            <a:ln w="28575" cap="rnd">
              <a:solidFill>
                <a:schemeClr val="accent2"/>
              </a:solidFill>
              <a:round/>
            </a:ln>
            <a:effectLst/>
          </c:spPr>
          <c:marker>
            <c:symbol val="circle"/>
            <c:size val="5"/>
            <c:spPr>
              <a:solidFill>
                <a:srgbClr val="FF0000"/>
              </a:solidFill>
              <a:ln w="9525">
                <a:solidFill>
                  <a:schemeClr val="accent3"/>
                </a:solidFill>
              </a:ln>
              <a:effectLst/>
            </c:spPr>
          </c:marker>
          <c:cat>
            <c:strRef>
              <c:f>'EBIT Analysis'!$E$54:$P$55</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EBIT Analysis'!$E$58:$P$58</c:f>
              <c:numCache>
                <c:formatCode>0%</c:formatCode>
                <c:ptCount val="12"/>
                <c:pt idx="0">
                  <c:v>0.35762388953297342</c:v>
                </c:pt>
                <c:pt idx="1">
                  <c:v>0.5013107546263732</c:v>
                </c:pt>
                <c:pt idx="2">
                  <c:v>0.33532439120342417</c:v>
                </c:pt>
                <c:pt idx="3">
                  <c:v>0.37373471996246976</c:v>
                </c:pt>
                <c:pt idx="4">
                  <c:v>0.47039691903281722</c:v>
                </c:pt>
                <c:pt idx="5">
                  <c:v>0.47313004208100951</c:v>
                </c:pt>
                <c:pt idx="6">
                  <c:v>0.5353020289864372</c:v>
                </c:pt>
                <c:pt idx="7">
                  <c:v>0.52577909011510338</c:v>
                </c:pt>
                <c:pt idx="8">
                  <c:v>0.38588068285200638</c:v>
                </c:pt>
                <c:pt idx="9">
                  <c:v>0.55152119278952894</c:v>
                </c:pt>
                <c:pt idx="10">
                  <c:v>0.43228332459198315</c:v>
                </c:pt>
                <c:pt idx="11">
                  <c:v>0.37303495544431575</c:v>
                </c:pt>
              </c:numCache>
            </c:numRef>
          </c:val>
          <c:smooth val="0"/>
          <c:extLst>
            <c:ext xmlns:c16="http://schemas.microsoft.com/office/drawing/2014/chart" uri="{C3380CC4-5D6E-409C-BE32-E72D297353CC}">
              <c16:uniqueId val="{00000002-CCF0-5E47-A00D-ED862073F377}"/>
            </c:ext>
          </c:extLst>
        </c:ser>
        <c:dLbls>
          <c:showLegendKey val="0"/>
          <c:showVal val="0"/>
          <c:showCatName val="0"/>
          <c:showSerName val="0"/>
          <c:showPercent val="0"/>
          <c:showBubbleSize val="0"/>
        </c:dLbls>
        <c:marker val="1"/>
        <c:smooth val="0"/>
        <c:axId val="383766464"/>
        <c:axId val="732702464"/>
      </c:lineChart>
      <c:catAx>
        <c:axId val="383766464"/>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702464"/>
        <c:crosses val="autoZero"/>
        <c:auto val="1"/>
        <c:lblAlgn val="ctr"/>
        <c:lblOffset val="100"/>
        <c:noMultiLvlLbl val="1"/>
      </c:catAx>
      <c:valAx>
        <c:axId val="732702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37664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Average</a:t>
            </a:r>
            <a:r>
              <a:rPr lang="en-US" b="1" baseline="0" dirty="0"/>
              <a:t> WBMP and Market Demand by Month Estimations for 2015 based on 2014</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D$16</c:f>
              <c:strCache>
                <c:ptCount val="1"/>
                <c:pt idx="0">
                  <c:v>Market Water Demand (Mega-Litres)</c:v>
                </c:pt>
              </c:strCache>
            </c:strRef>
          </c:tx>
          <c:spPr>
            <a:solidFill>
              <a:schemeClr val="accent5">
                <a:lumMod val="40000"/>
                <a:lumOff val="60000"/>
              </a:schemeClr>
            </a:solidFill>
            <a:ln>
              <a:noFill/>
            </a:ln>
            <a:effectLst/>
          </c:spPr>
          <c:invertIfNegative val="0"/>
          <c:dPt>
            <c:idx val="1"/>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1-1BA1-F340-9DDD-C4666E102C2A}"/>
              </c:ext>
            </c:extLst>
          </c:dPt>
          <c:dPt>
            <c:idx val="6"/>
            <c:invertIfNegative val="0"/>
            <c:bubble3D val="0"/>
            <c:spPr>
              <a:solidFill>
                <a:srgbClr val="379BBD"/>
              </a:solidFill>
              <a:ln>
                <a:noFill/>
              </a:ln>
              <a:effectLst/>
            </c:spPr>
            <c:extLst>
              <c:ext xmlns:c16="http://schemas.microsoft.com/office/drawing/2014/chart" uri="{C3380CC4-5D6E-409C-BE32-E72D297353CC}">
                <c16:uniqueId val="{00000003-1BA1-F340-9DDD-C4666E102C2A}"/>
              </c:ext>
            </c:extLst>
          </c:dPt>
          <c:dPt>
            <c:idx val="7"/>
            <c:invertIfNegative val="0"/>
            <c:bubble3D val="0"/>
            <c:spPr>
              <a:solidFill>
                <a:srgbClr val="379BBD"/>
              </a:solidFill>
              <a:ln>
                <a:noFill/>
              </a:ln>
              <a:effectLst/>
            </c:spPr>
            <c:extLst>
              <c:ext xmlns:c16="http://schemas.microsoft.com/office/drawing/2014/chart" uri="{C3380CC4-5D6E-409C-BE32-E72D297353CC}">
                <c16:uniqueId val="{00000005-1BA1-F340-9DDD-C4666E102C2A}"/>
              </c:ext>
            </c:extLst>
          </c:dPt>
          <c:dPt>
            <c:idx val="8"/>
            <c:invertIfNegative val="0"/>
            <c:bubble3D val="0"/>
            <c:spPr>
              <a:solidFill>
                <a:srgbClr val="379BBD"/>
              </a:solidFill>
              <a:ln>
                <a:noFill/>
              </a:ln>
              <a:effectLst/>
            </c:spPr>
            <c:extLst>
              <c:ext xmlns:c16="http://schemas.microsoft.com/office/drawing/2014/chart" uri="{C3380CC4-5D6E-409C-BE32-E72D297353CC}">
                <c16:uniqueId val="{00000007-1BA1-F340-9DDD-C4666E102C2A}"/>
              </c:ext>
            </c:extLst>
          </c:dPt>
          <c:dPt>
            <c:idx val="9"/>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9-1BA1-F340-9DDD-C4666E102C2A}"/>
              </c:ext>
            </c:extLst>
          </c:dPt>
          <c:dPt>
            <c:idx val="10"/>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B-1BA1-F340-9DDD-C4666E102C2A}"/>
              </c:ext>
            </c:extLst>
          </c:dPt>
          <c:dPt>
            <c:idx val="11"/>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0D-1BA1-F340-9DDD-C4666E102C2A}"/>
              </c:ext>
            </c:extLst>
          </c:dPt>
          <c:cat>
            <c:numRef>
              <c:f>'What-If Analysis'!$E$13:$P$13</c:f>
              <c:numCache>
                <c:formatCode>mmm\-yy</c:formatCode>
                <c:ptCount val="12"/>
                <c:pt idx="0">
                  <c:v>41456</c:v>
                </c:pt>
                <c:pt idx="1">
                  <c:v>41487</c:v>
                </c:pt>
                <c:pt idx="2">
                  <c:v>41518</c:v>
                </c:pt>
                <c:pt idx="3">
                  <c:v>41548</c:v>
                </c:pt>
                <c:pt idx="4">
                  <c:v>41579</c:v>
                </c:pt>
                <c:pt idx="5">
                  <c:v>41609</c:v>
                </c:pt>
                <c:pt idx="6">
                  <c:v>41653</c:v>
                </c:pt>
                <c:pt idx="7">
                  <c:v>41684</c:v>
                </c:pt>
                <c:pt idx="8">
                  <c:v>41712</c:v>
                </c:pt>
                <c:pt idx="9">
                  <c:v>41743</c:v>
                </c:pt>
                <c:pt idx="10">
                  <c:v>41760</c:v>
                </c:pt>
                <c:pt idx="11">
                  <c:v>41791</c:v>
                </c:pt>
              </c:numCache>
            </c:numRef>
          </c:cat>
          <c:val>
            <c:numRef>
              <c:f>'What-If Analysis'!$E$16:$P$16</c:f>
              <c:numCache>
                <c:formatCode>#,##0.00</c:formatCode>
                <c:ptCount val="12"/>
                <c:pt idx="0">
                  <c:v>2283050.2472527674</c:v>
                </c:pt>
                <c:pt idx="1">
                  <c:v>2201059.2458815067</c:v>
                </c:pt>
                <c:pt idx="2">
                  <c:v>2153343.1850899528</c:v>
                </c:pt>
                <c:pt idx="3">
                  <c:v>2098991.381261779</c:v>
                </c:pt>
                <c:pt idx="4">
                  <c:v>2200929.3289926657</c:v>
                </c:pt>
                <c:pt idx="5">
                  <c:v>2312199.5397611419</c:v>
                </c:pt>
                <c:pt idx="6">
                  <c:v>2298190.1589653967</c:v>
                </c:pt>
                <c:pt idx="7">
                  <c:v>2406091.8962111035</c:v>
                </c:pt>
                <c:pt idx="8">
                  <c:v>2127814.5432709767</c:v>
                </c:pt>
                <c:pt idx="9">
                  <c:v>2185799.7542263707</c:v>
                </c:pt>
                <c:pt idx="10">
                  <c:v>2145783.7188661066</c:v>
                </c:pt>
                <c:pt idx="11">
                  <c:v>2229749.6611442612</c:v>
                </c:pt>
              </c:numCache>
            </c:numRef>
          </c:val>
          <c:extLst>
            <c:ext xmlns:c16="http://schemas.microsoft.com/office/drawing/2014/chart" uri="{C3380CC4-5D6E-409C-BE32-E72D297353CC}">
              <c16:uniqueId val="{0000000E-1BA1-F340-9DDD-C4666E102C2A}"/>
            </c:ext>
          </c:extLst>
        </c:ser>
        <c:dLbls>
          <c:showLegendKey val="0"/>
          <c:showVal val="0"/>
          <c:showCatName val="0"/>
          <c:showSerName val="0"/>
          <c:showPercent val="0"/>
          <c:showBubbleSize val="0"/>
        </c:dLbls>
        <c:gapWidth val="150"/>
        <c:axId val="1788694175"/>
        <c:axId val="1721224687"/>
      </c:barChart>
      <c:lineChart>
        <c:grouping val="standard"/>
        <c:varyColors val="0"/>
        <c:ser>
          <c:idx val="0"/>
          <c:order val="0"/>
          <c:tx>
            <c:strRef>
              <c:f>'What-If Analysis'!$D$15</c:f>
              <c:strCache>
                <c:ptCount val="1"/>
                <c:pt idx="0">
                  <c:v>Average Water Balancing Market Price</c:v>
                </c:pt>
              </c:strCache>
            </c:strRef>
          </c:tx>
          <c:spPr>
            <a:ln w="28575" cap="rnd">
              <a:solidFill>
                <a:schemeClr val="accent2"/>
              </a:solidFill>
              <a:round/>
            </a:ln>
            <a:effectLst/>
          </c:spPr>
          <c:marker>
            <c:symbol val="diamond"/>
            <c:size val="8"/>
            <c:spPr>
              <a:solidFill>
                <a:srgbClr val="FFC000"/>
              </a:solidFill>
              <a:ln w="9525">
                <a:solidFill>
                  <a:schemeClr val="accent2"/>
                </a:solidFill>
              </a:ln>
              <a:effectLst/>
            </c:spPr>
          </c:marker>
          <c:dPt>
            <c:idx val="6"/>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0-1BA1-F340-9DDD-C4666E102C2A}"/>
              </c:ext>
            </c:extLst>
          </c:dPt>
          <c:dPt>
            <c:idx val="7"/>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2-1BA1-F340-9DDD-C4666E102C2A}"/>
              </c:ext>
            </c:extLst>
          </c:dPt>
          <c:dPt>
            <c:idx val="8"/>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4-1BA1-F340-9DDD-C4666E102C2A}"/>
              </c:ext>
            </c:extLst>
          </c:dPt>
          <c:dPt>
            <c:idx val="9"/>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6-1BA1-F340-9DDD-C4666E102C2A}"/>
              </c:ext>
            </c:extLst>
          </c:dPt>
          <c:dPt>
            <c:idx val="10"/>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8-1BA1-F340-9DDD-C4666E102C2A}"/>
              </c:ext>
            </c:extLst>
          </c:dPt>
          <c:dPt>
            <c:idx val="11"/>
            <c:marker>
              <c:symbol val="diamond"/>
              <c:size val="8"/>
              <c:spPr>
                <a:solidFill>
                  <a:srgbClr val="FFC000"/>
                </a:solidFill>
                <a:ln w="9525">
                  <a:solidFill>
                    <a:schemeClr val="accent2"/>
                  </a:solidFill>
                </a:ln>
                <a:effectLst/>
              </c:spPr>
            </c:marker>
            <c:bubble3D val="0"/>
            <c:spPr>
              <a:ln w="28575" cap="rnd">
                <a:solidFill>
                  <a:schemeClr val="accent2"/>
                </a:solidFill>
                <a:round/>
              </a:ln>
              <a:effectLst/>
            </c:spPr>
            <c:extLst>
              <c:ext xmlns:c16="http://schemas.microsoft.com/office/drawing/2014/chart" uri="{C3380CC4-5D6E-409C-BE32-E72D297353CC}">
                <c16:uniqueId val="{0000001A-1BA1-F340-9DDD-C4666E102C2A}"/>
              </c:ext>
            </c:extLst>
          </c:dPt>
          <c:cat>
            <c:numRef>
              <c:f>'What-If Analysis'!$E$13:$P$13</c:f>
              <c:numCache>
                <c:formatCode>mmm\-yy</c:formatCode>
                <c:ptCount val="12"/>
                <c:pt idx="0">
                  <c:v>41456</c:v>
                </c:pt>
                <c:pt idx="1">
                  <c:v>41487</c:v>
                </c:pt>
                <c:pt idx="2">
                  <c:v>41518</c:v>
                </c:pt>
                <c:pt idx="3">
                  <c:v>41548</c:v>
                </c:pt>
                <c:pt idx="4">
                  <c:v>41579</c:v>
                </c:pt>
                <c:pt idx="5">
                  <c:v>41609</c:v>
                </c:pt>
                <c:pt idx="6">
                  <c:v>41653</c:v>
                </c:pt>
                <c:pt idx="7">
                  <c:v>41684</c:v>
                </c:pt>
                <c:pt idx="8">
                  <c:v>41712</c:v>
                </c:pt>
                <c:pt idx="9">
                  <c:v>41743</c:v>
                </c:pt>
                <c:pt idx="10">
                  <c:v>41760</c:v>
                </c:pt>
                <c:pt idx="11">
                  <c:v>41791</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1B-1BA1-F340-9DDD-C4666E102C2A}"/>
            </c:ext>
          </c:extLst>
        </c:ser>
        <c:dLbls>
          <c:showLegendKey val="0"/>
          <c:showVal val="0"/>
          <c:showCatName val="0"/>
          <c:showSerName val="0"/>
          <c:showPercent val="0"/>
          <c:showBubbleSize val="0"/>
        </c:dLbls>
        <c:marker val="1"/>
        <c:smooth val="0"/>
        <c:axId val="1793605759"/>
        <c:axId val="1822570015"/>
      </c:lineChart>
      <c:dateAx>
        <c:axId val="1788694175"/>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1224687"/>
        <c:crosses val="autoZero"/>
        <c:auto val="1"/>
        <c:lblOffset val="100"/>
        <c:baseTimeUnit val="months"/>
      </c:dateAx>
      <c:valAx>
        <c:axId val="17212246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88694175"/>
        <c:crosses val="autoZero"/>
        <c:crossBetween val="between"/>
      </c:valAx>
      <c:valAx>
        <c:axId val="1822570015"/>
        <c:scaling>
          <c:orientation val="minMax"/>
        </c:scaling>
        <c:delete val="0"/>
        <c:axPos val="r"/>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3605759"/>
        <c:crosses val="max"/>
        <c:crossBetween val="between"/>
      </c:valAx>
      <c:dateAx>
        <c:axId val="1793605759"/>
        <c:scaling>
          <c:orientation val="minMax"/>
        </c:scaling>
        <c:delete val="1"/>
        <c:axPos val="b"/>
        <c:numFmt formatCode="mmm\-yy" sourceLinked="1"/>
        <c:majorTickMark val="out"/>
        <c:minorTickMark val="none"/>
        <c:tickLblPos val="nextTo"/>
        <c:crossAx val="1822570015"/>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t>Surjek's</a:t>
            </a:r>
            <a:r>
              <a:rPr lang="en-US" b="1" dirty="0"/>
              <a:t> Total Quarterly Revenue</a:t>
            </a:r>
            <a:r>
              <a:rPr lang="en-US" b="1" baseline="0" dirty="0"/>
              <a:t> </a:t>
            </a:r>
          </a:p>
          <a:p>
            <a:pPr>
              <a:defRPr/>
            </a:pPr>
            <a:r>
              <a:rPr lang="en-US" b="1" baseline="0" dirty="0"/>
              <a:t>(Jul-13 to Jun-14)</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6">
                <a:lumMod val="75000"/>
              </a:schemeClr>
            </a:solidFill>
            <a:ln>
              <a:noFill/>
            </a:ln>
            <a:effectLst/>
          </c:spPr>
          <c:invertIfNegative val="0"/>
          <c:dLbls>
            <c:numFmt formatCode="&quot;$&quot;#,##0.00_);[Red]\(&quot;$&quot;#,##0.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W$51:$Z$51</c:f>
              <c:strCache>
                <c:ptCount val="4"/>
                <c:pt idx="0">
                  <c:v>Q1</c:v>
                </c:pt>
                <c:pt idx="1">
                  <c:v>Q2</c:v>
                </c:pt>
                <c:pt idx="2">
                  <c:v>Q3</c:v>
                </c:pt>
                <c:pt idx="3">
                  <c:v>Q4</c:v>
                </c:pt>
              </c:strCache>
            </c:strRef>
          </c:cat>
          <c:val>
            <c:numRef>
              <c:f>'What-If Analysis'!$W$52:$Z$52</c:f>
              <c:numCache>
                <c:formatCode>"$"#,##0.00;[Red]\-"$"#,##0.00</c:formatCode>
                <c:ptCount val="4"/>
                <c:pt idx="0">
                  <c:v>60579689.130999997</c:v>
                </c:pt>
                <c:pt idx="1">
                  <c:v>49059900.811999999</c:v>
                </c:pt>
                <c:pt idx="2">
                  <c:v>48068265.527999997</c:v>
                </c:pt>
                <c:pt idx="3">
                  <c:v>44547493.697999991</c:v>
                </c:pt>
              </c:numCache>
            </c:numRef>
          </c:val>
          <c:extLst>
            <c:ext xmlns:c16="http://schemas.microsoft.com/office/drawing/2014/chart" uri="{C3380CC4-5D6E-409C-BE32-E72D297353CC}">
              <c16:uniqueId val="{00000000-D166-F442-A55F-F17CA02CA8E8}"/>
            </c:ext>
          </c:extLst>
        </c:ser>
        <c:dLbls>
          <c:dLblPos val="outEnd"/>
          <c:showLegendKey val="0"/>
          <c:showVal val="1"/>
          <c:showCatName val="0"/>
          <c:showSerName val="0"/>
          <c:showPercent val="0"/>
          <c:showBubbleSize val="0"/>
        </c:dLbls>
        <c:gapWidth val="55"/>
        <c:overlap val="-27"/>
        <c:axId val="1834642351"/>
        <c:axId val="1834099199"/>
      </c:barChart>
      <c:catAx>
        <c:axId val="1834642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4099199"/>
        <c:crosses val="autoZero"/>
        <c:auto val="1"/>
        <c:lblAlgn val="ctr"/>
        <c:lblOffset val="100"/>
        <c:noMultiLvlLbl val="0"/>
      </c:catAx>
      <c:valAx>
        <c:axId val="183409919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4642351"/>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Cost</a:t>
            </a:r>
            <a:r>
              <a:rPr lang="en-AU" b="1" baseline="0"/>
              <a:t> to Produce vs. WBMP Market Price</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Economic Cost Analysis'!$B$221</c:f>
              <c:strCache>
                <c:ptCount val="1"/>
                <c:pt idx="0">
                  <c:v>Overall Desalination Cost to Produce ($/ML)</c:v>
                </c:pt>
              </c:strCache>
            </c:strRef>
          </c:tx>
          <c:spPr>
            <a:solidFill>
              <a:schemeClr val="tx2"/>
            </a:solidFill>
            <a:ln>
              <a:noFill/>
            </a:ln>
            <a:effectLst/>
          </c:spPr>
          <c:invertIfNegative val="0"/>
          <c:dLbls>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2:$A$224</c:f>
              <c:strCache>
                <c:ptCount val="3"/>
                <c:pt idx="0">
                  <c:v>Kootha</c:v>
                </c:pt>
                <c:pt idx="1">
                  <c:v>Surjek</c:v>
                </c:pt>
                <c:pt idx="2">
                  <c:v>Jutik</c:v>
                </c:pt>
              </c:strCache>
            </c:strRef>
          </c:cat>
          <c:val>
            <c:numRef>
              <c:f>'Economic Cost Analysis'!$B$222:$B$224</c:f>
              <c:numCache>
                <c:formatCode>"$"#,##0.00_);[Red]\("$"#,##0.00\)</c:formatCode>
                <c:ptCount val="3"/>
                <c:pt idx="0" formatCode="&quot;$&quot;#,##0.00;[Red]\-&quot;$&quot;#,##0.00\ &quot;$/ML&quot;">
                  <c:v>25.001374005209875</c:v>
                </c:pt>
                <c:pt idx="1">
                  <c:v>54.231506516209812</c:v>
                </c:pt>
                <c:pt idx="2">
                  <c:v>35.804189198254953</c:v>
                </c:pt>
              </c:numCache>
            </c:numRef>
          </c:val>
          <c:extLst>
            <c:ext xmlns:c16="http://schemas.microsoft.com/office/drawing/2014/chart" uri="{C3380CC4-5D6E-409C-BE32-E72D297353CC}">
              <c16:uniqueId val="{00000000-D1EF-458A-A38D-75B690F46F10}"/>
            </c:ext>
          </c:extLst>
        </c:ser>
        <c:dLbls>
          <c:showLegendKey val="0"/>
          <c:showVal val="0"/>
          <c:showCatName val="0"/>
          <c:showSerName val="0"/>
          <c:showPercent val="0"/>
          <c:showBubbleSize val="0"/>
        </c:dLbls>
        <c:gapWidth val="150"/>
        <c:overlap val="100"/>
        <c:axId val="506350880"/>
        <c:axId val="506355800"/>
      </c:barChart>
      <c:lineChart>
        <c:grouping val="standard"/>
        <c:varyColors val="0"/>
        <c:ser>
          <c:idx val="1"/>
          <c:order val="1"/>
          <c:tx>
            <c:strRef>
              <c:f>'Economic Cost Analysis'!$C$221</c:f>
              <c:strCache>
                <c:ptCount val="1"/>
                <c:pt idx="0">
                  <c:v>Overall Average WBMP Market Price</c:v>
                </c:pt>
              </c:strCache>
            </c:strRef>
          </c:tx>
          <c:spPr>
            <a:ln w="38100" cap="rnd">
              <a:solidFill>
                <a:schemeClr val="bg2">
                  <a:lumMod val="75000"/>
                </a:schemeClr>
              </a:solidFill>
              <a:prstDash val="dash"/>
              <a:round/>
            </a:ln>
            <a:effectLst/>
          </c:spPr>
          <c:marker>
            <c:symbol val="circle"/>
            <c:size val="5"/>
            <c:spPr>
              <a:solidFill>
                <a:schemeClr val="accent2"/>
              </a:solidFill>
              <a:ln w="9525">
                <a:solidFill>
                  <a:schemeClr val="accent2"/>
                </a:solidFill>
              </a:ln>
              <a:effectLst/>
            </c:spPr>
          </c:marker>
          <c:cat>
            <c:strRef>
              <c:f>'Economic Cost Analysis'!$A$222:$A$224</c:f>
              <c:strCache>
                <c:ptCount val="3"/>
                <c:pt idx="0">
                  <c:v>Kootha</c:v>
                </c:pt>
                <c:pt idx="1">
                  <c:v>Surjek</c:v>
                </c:pt>
                <c:pt idx="2">
                  <c:v>Jutik</c:v>
                </c:pt>
              </c:strCache>
            </c:strRef>
          </c:cat>
          <c:val>
            <c:numRef>
              <c:f>'Economic Cost Analysis'!$C$222:$C$224</c:f>
              <c:numCache>
                <c:formatCode>"$"#,##0.00_);[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D1EF-458A-A38D-75B690F46F10}"/>
            </c:ext>
          </c:extLst>
        </c:ser>
        <c:dLbls>
          <c:showLegendKey val="0"/>
          <c:showVal val="0"/>
          <c:showCatName val="0"/>
          <c:showSerName val="0"/>
          <c:showPercent val="0"/>
          <c:showBubbleSize val="0"/>
        </c:dLbls>
        <c:marker val="1"/>
        <c:smooth val="0"/>
        <c:axId val="506350880"/>
        <c:axId val="506355800"/>
      </c:lineChart>
      <c:catAx>
        <c:axId val="506350880"/>
        <c:scaling>
          <c:orientation val="minMax"/>
        </c:scaling>
        <c:delete val="1"/>
        <c:axPos val="b"/>
        <c:numFmt formatCode="General" sourceLinked="1"/>
        <c:majorTickMark val="none"/>
        <c:minorTickMark val="none"/>
        <c:tickLblPos val="nextTo"/>
        <c:crossAx val="506355800"/>
        <c:crosses val="autoZero"/>
        <c:auto val="1"/>
        <c:lblAlgn val="ctr"/>
        <c:lblOffset val="100"/>
        <c:noMultiLvlLbl val="0"/>
      </c:catAx>
      <c:valAx>
        <c:axId val="506355800"/>
        <c:scaling>
          <c:orientation val="minMax"/>
        </c:scaling>
        <c:delete val="0"/>
        <c:axPos val="l"/>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0635088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Cost</a:t>
            </a:r>
            <a:r>
              <a:rPr lang="en-US" b="1" baseline="0">
                <a:solidFill>
                  <a:schemeClr val="tx1"/>
                </a:solidFill>
              </a:rPr>
              <a:t> to Produce by Unit vs. WBMP Market Price</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6</c:f>
              <c:strCache>
                <c:ptCount val="1"/>
                <c:pt idx="0">
                  <c:v>Overall Desalination Cost to Produce ($/ML)</c:v>
                </c:pt>
              </c:strCache>
            </c:strRef>
          </c:tx>
          <c:spPr>
            <a:solidFill>
              <a:schemeClr val="accent1"/>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6C35-4D41-9E61-B721BC44696D}"/>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3-6C35-4D41-9E61-B721BC44696D}"/>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6C35-4D41-9E61-B721BC44696D}"/>
              </c:ext>
            </c:extLst>
          </c:dPt>
          <c:dLbls>
            <c:spPr>
              <a:solidFill>
                <a:schemeClr val="bg2">
                  <a:lumMod val="8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formatCode="&quot;$&quot;#,##0.00;[Red]\-&quot;$&quot;#,##0.00\ &quot;$/ML&quot;">
                  <c:v>309.4812184578999</c:v>
                </c:pt>
                <c:pt idx="1">
                  <c:v>834.16259960333082</c:v>
                </c:pt>
                <c:pt idx="2">
                  <c:v>433.54181240549309</c:v>
                </c:pt>
              </c:numCache>
            </c:numRef>
          </c:val>
          <c:extLst>
            <c:ext xmlns:c16="http://schemas.microsoft.com/office/drawing/2014/chart" uri="{C3380CC4-5D6E-409C-BE32-E72D297353CC}">
              <c16:uniqueId val="{00000006-6C35-4D41-9E61-B721BC44696D}"/>
            </c:ext>
          </c:extLst>
        </c:ser>
        <c:dLbls>
          <c:dLblPos val="inBase"/>
          <c:showLegendKey val="0"/>
          <c:showVal val="1"/>
          <c:showCatName val="0"/>
          <c:showSerName val="0"/>
          <c:showPercent val="0"/>
          <c:showBubbleSize val="0"/>
        </c:dLbls>
        <c:gapWidth val="150"/>
        <c:axId val="786047440"/>
        <c:axId val="1059039872"/>
      </c:barChart>
      <c:lineChart>
        <c:grouping val="standard"/>
        <c:varyColors val="0"/>
        <c:ser>
          <c:idx val="1"/>
          <c:order val="1"/>
          <c:tx>
            <c:strRef>
              <c:f>'Economic Cost Analysis'!$C$226</c:f>
              <c:strCache>
                <c:ptCount val="1"/>
                <c:pt idx="0">
                  <c:v>Overall Average WBMP Market Price</c:v>
                </c:pt>
              </c:strCache>
            </c:strRef>
          </c:tx>
          <c:spPr>
            <a:ln w="28575" cap="rnd">
              <a:solidFill>
                <a:schemeClr val="accent3">
                  <a:lumMod val="50000"/>
                </a:schemeClr>
              </a:solidFill>
              <a:prstDash val="dash"/>
              <a:round/>
            </a:ln>
            <a:effectLst/>
          </c:spPr>
          <c:marker>
            <c:symbol val="x"/>
            <c:size val="5"/>
            <c:spPr>
              <a:noFill/>
              <a:ln w="25400">
                <a:solidFill>
                  <a:schemeClr val="accent2"/>
                </a:solidFill>
              </a:ln>
              <a:effectLst/>
            </c:spPr>
          </c:marker>
          <c:dLbls>
            <c:delete val="1"/>
          </c:dLbls>
          <c:cat>
            <c:strRef>
              <c:f>'Economic Cost Analysis'!$A$227:$A$229</c:f>
              <c:strCache>
                <c:ptCount val="3"/>
                <c:pt idx="0">
                  <c:v>Kootha</c:v>
                </c:pt>
                <c:pt idx="1">
                  <c:v>Surjek</c:v>
                </c:pt>
                <c:pt idx="2">
                  <c:v>Jutik</c:v>
                </c:pt>
              </c:strCache>
            </c:strRef>
          </c:cat>
          <c:val>
            <c:numRef>
              <c:f>'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7-6C35-4D41-9E61-B721BC44696D}"/>
            </c:ext>
          </c:extLst>
        </c:ser>
        <c:dLbls>
          <c:showLegendKey val="0"/>
          <c:showVal val="1"/>
          <c:showCatName val="0"/>
          <c:showSerName val="0"/>
          <c:showPercent val="0"/>
          <c:showBubbleSize val="0"/>
        </c:dLbls>
        <c:marker val="1"/>
        <c:smooth val="0"/>
        <c:axId val="841165792"/>
        <c:axId val="347319456"/>
      </c:lineChart>
      <c:catAx>
        <c:axId val="786047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059039872"/>
        <c:crosses val="autoZero"/>
        <c:auto val="1"/>
        <c:lblAlgn val="ctr"/>
        <c:lblOffset val="100"/>
        <c:noMultiLvlLbl val="0"/>
      </c:catAx>
      <c:valAx>
        <c:axId val="105903987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6047440"/>
        <c:crosses val="autoZero"/>
        <c:crossBetween val="between"/>
      </c:valAx>
      <c:valAx>
        <c:axId val="347319456"/>
        <c:scaling>
          <c:orientation val="minMax"/>
        </c:scaling>
        <c:delete val="0"/>
        <c:axPos val="r"/>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1165792"/>
        <c:crosses val="max"/>
        <c:crossBetween val="between"/>
      </c:valAx>
      <c:catAx>
        <c:axId val="841165792"/>
        <c:scaling>
          <c:orientation val="minMax"/>
        </c:scaling>
        <c:delete val="1"/>
        <c:axPos val="b"/>
        <c:numFmt formatCode="General" sourceLinked="1"/>
        <c:majorTickMark val="none"/>
        <c:minorTickMark val="none"/>
        <c:tickLblPos val="nextTo"/>
        <c:crossAx val="347319456"/>
        <c:crosses val="autoZero"/>
        <c:auto val="1"/>
        <c:lblAlgn val="ctr"/>
        <c:lblOffset val="100"/>
        <c:noMultiLvlLbl val="0"/>
      </c:cat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dirty="0"/>
              <a:t>Overall contribution from each sales segment</a:t>
            </a:r>
            <a:r>
              <a:rPr lang="en-US" baseline="0" dirty="0"/>
              <a:t> </a:t>
            </a:r>
          </a:p>
          <a:p>
            <a:pPr>
              <a:defRPr/>
            </a:pPr>
            <a:r>
              <a:rPr lang="en-US" sz="1100" baseline="0" dirty="0"/>
              <a:t>(grouped by Unit)</a:t>
            </a:r>
            <a:endParaRPr lang="en-US" baseline="0" dirty="0"/>
          </a:p>
        </c:rich>
      </c:tx>
      <c:layout>
        <c:manualLayout>
          <c:xMode val="edge"/>
          <c:yMode val="edge"/>
          <c:x val="0.17172423335273845"/>
          <c:y val="6.9796978608425136E-3"/>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5197286206090313E-2"/>
          <c:y val="0.22798060734822648"/>
          <c:w val="0.92960542758781939"/>
          <c:h val="0.69755785408313886"/>
        </c:manualLayout>
      </c:layout>
      <c:barChart>
        <c:barDir val="col"/>
        <c:grouping val="stacked"/>
        <c:varyColors val="0"/>
        <c:ser>
          <c:idx val="0"/>
          <c:order val="0"/>
          <c:tx>
            <c:strRef>
              <c:f>'Revenue Analysis'!$B$58</c:f>
              <c:strCache>
                <c:ptCount val="1"/>
                <c:pt idx="0">
                  <c:v>001 Private Water Hedge Sales</c:v>
                </c:pt>
              </c:strCache>
            </c:strRef>
          </c:tx>
          <c:spPr>
            <a:solidFill>
              <a:schemeClr val="accent1"/>
            </a:solidFill>
            <a:ln>
              <a:noFill/>
            </a:ln>
            <a:effectLst/>
          </c:spPr>
          <c:invertIfNegative val="0"/>
          <c:dLbls>
            <c:dLbl>
              <c:idx val="0"/>
              <c:tx>
                <c:rich>
                  <a:bodyPr/>
                  <a:lstStyle/>
                  <a:p>
                    <a:r>
                      <a:rPr lang="en-US"/>
                      <a:t>$37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83-D348-91E7-C8E55F67F93F}"/>
                </c:ext>
              </c:extLst>
            </c:dLbl>
            <c:dLbl>
              <c:idx val="1"/>
              <c:tx>
                <c:rich>
                  <a:bodyPr/>
                  <a:lstStyle/>
                  <a:p>
                    <a:r>
                      <a:rPr lang="en-US"/>
                      <a:t>$82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3-D348-91E7-C8E55F67F93F}"/>
                </c:ext>
              </c:extLst>
            </c:dLbl>
            <c:dLbl>
              <c:idx val="2"/>
              <c:tx>
                <c:rich>
                  <a:bodyPr/>
                  <a:lstStyle/>
                  <a:p>
                    <a:r>
                      <a:rPr lang="en-US"/>
                      <a:t>$58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83-D348-91E7-C8E55F67F93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B$59:$B$61</c:f>
              <c:numCache>
                <c:formatCode>_([$$-409]* #,##0.00_);_([$$-409]* \(#,##0.00\);_([$$-409]* "-"??_);_(@_)</c:formatCode>
                <c:ptCount val="3"/>
                <c:pt idx="0">
                  <c:v>37118738.908649988</c:v>
                </c:pt>
                <c:pt idx="1">
                  <c:v>82448062.153750017</c:v>
                </c:pt>
                <c:pt idx="2">
                  <c:v>67860510.573750004</c:v>
                </c:pt>
              </c:numCache>
            </c:numRef>
          </c:val>
          <c:extLst>
            <c:ext xmlns:c16="http://schemas.microsoft.com/office/drawing/2014/chart" uri="{C3380CC4-5D6E-409C-BE32-E72D297353CC}">
              <c16:uniqueId val="{00000003-5283-D348-91E7-C8E55F67F93F}"/>
            </c:ext>
          </c:extLst>
        </c:ser>
        <c:ser>
          <c:idx val="1"/>
          <c:order val="1"/>
          <c:tx>
            <c:strRef>
              <c:f>'Revenue Analysis'!$C$58</c:f>
              <c:strCache>
                <c:ptCount val="1"/>
                <c:pt idx="0">
                  <c:v>002 Public Sales</c:v>
                </c:pt>
              </c:strCache>
            </c:strRef>
          </c:tx>
          <c:spPr>
            <a:solidFill>
              <a:schemeClr val="accent2"/>
            </a:solidFill>
            <a:ln>
              <a:noFill/>
            </a:ln>
            <a:effectLst/>
          </c:spPr>
          <c:invertIfNegative val="0"/>
          <c:dLbls>
            <c:dLbl>
              <c:idx val="0"/>
              <c:tx>
                <c:rich>
                  <a:bodyPr/>
                  <a:lstStyle/>
                  <a:p>
                    <a:r>
                      <a:rPr lang="en-US"/>
                      <a:t>$18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283-D348-91E7-C8E55F67F93F}"/>
                </c:ext>
              </c:extLst>
            </c:dLbl>
            <c:dLbl>
              <c:idx val="1"/>
              <c:tx>
                <c:rich>
                  <a:bodyPr/>
                  <a:lstStyle/>
                  <a:p>
                    <a:r>
                      <a:rPr lang="en-US"/>
                      <a:t>$70.5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3-D348-91E7-C8E55F67F93F}"/>
                </c:ext>
              </c:extLst>
            </c:dLbl>
            <c:dLbl>
              <c:idx val="2"/>
              <c:tx>
                <c:rich>
                  <a:bodyPr/>
                  <a:lstStyle/>
                  <a:p>
                    <a:r>
                      <a:rPr lang="en-US"/>
                      <a:t>$58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283-D348-91E7-C8E55F67F93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C$59:$C$61</c:f>
              <c:numCache>
                <c:formatCode>_([$$-409]* #,##0.00_);_([$$-409]* \(#,##0.00\);_([$$-409]* "-"??_);_(@_)</c:formatCode>
                <c:ptCount val="3"/>
                <c:pt idx="0">
                  <c:v>18271699.227782957</c:v>
                </c:pt>
                <c:pt idx="1">
                  <c:v>70562398.047100008</c:v>
                </c:pt>
                <c:pt idx="2">
                  <c:v>58098022.074299999</c:v>
                </c:pt>
              </c:numCache>
            </c:numRef>
          </c:val>
          <c:extLst>
            <c:ext xmlns:c16="http://schemas.microsoft.com/office/drawing/2014/chart" uri="{C3380CC4-5D6E-409C-BE32-E72D297353CC}">
              <c16:uniqueId val="{00000007-5283-D348-91E7-C8E55F67F93F}"/>
            </c:ext>
          </c:extLst>
        </c:ser>
        <c:ser>
          <c:idx val="2"/>
          <c:order val="2"/>
          <c:tx>
            <c:strRef>
              <c:f>'Revenue Analysis'!$D$58</c:f>
              <c:strCache>
                <c:ptCount val="1"/>
                <c:pt idx="0">
                  <c:v>003 Residential Sales</c:v>
                </c:pt>
              </c:strCache>
            </c:strRef>
          </c:tx>
          <c:spPr>
            <a:solidFill>
              <a:schemeClr val="accent3"/>
            </a:solidFill>
            <a:ln>
              <a:noFill/>
            </a:ln>
            <a:effectLst/>
          </c:spPr>
          <c:invertIfNegative val="0"/>
          <c:dLbls>
            <c:dLbl>
              <c:idx val="0"/>
              <c:tx>
                <c:rich>
                  <a:bodyPr/>
                  <a:lstStyle/>
                  <a:p>
                    <a:r>
                      <a:rPr lang="en-US"/>
                      <a:t>$15.5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283-D348-91E7-C8E55F67F93F}"/>
                </c:ext>
              </c:extLst>
            </c:dLbl>
            <c:dLbl>
              <c:idx val="1"/>
              <c:tx>
                <c:rich>
                  <a:bodyPr/>
                  <a:lstStyle/>
                  <a:p>
                    <a:r>
                      <a:rPr lang="en-US"/>
                      <a:t>$49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283-D348-91E7-C8E55F67F93F}"/>
                </c:ext>
              </c:extLst>
            </c:dLbl>
            <c:dLbl>
              <c:idx val="2"/>
              <c:tx>
                <c:rich>
                  <a:bodyPr/>
                  <a:lstStyle/>
                  <a:p>
                    <a:r>
                      <a:rPr lang="en-US"/>
                      <a:t>$38M</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283-D348-91E7-C8E55F67F93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venue Analysis'!$A$59:$A$61</c:f>
              <c:strCache>
                <c:ptCount val="3"/>
                <c:pt idx="0">
                  <c:v>Kootha</c:v>
                </c:pt>
                <c:pt idx="1">
                  <c:v>Surjek</c:v>
                </c:pt>
                <c:pt idx="2">
                  <c:v>Jutik</c:v>
                </c:pt>
              </c:strCache>
            </c:strRef>
          </c:cat>
          <c:val>
            <c:numRef>
              <c:f>'Revenue Analysis'!$D$59:$D$61</c:f>
              <c:numCache>
                <c:formatCode>_([$$-409]* #,##0.00_);_([$$-409]* \(#,##0.00\);_([$$-409]* "-"??_);_(@_)</c:formatCode>
                <c:ptCount val="3"/>
                <c:pt idx="0">
                  <c:v>15554519.161720002</c:v>
                </c:pt>
                <c:pt idx="1">
                  <c:v>49244888.96814999</c:v>
                </c:pt>
                <c:pt idx="2">
                  <c:v>37706692.728949994</c:v>
                </c:pt>
              </c:numCache>
            </c:numRef>
          </c:val>
          <c:extLst>
            <c:ext xmlns:c16="http://schemas.microsoft.com/office/drawing/2014/chart" uri="{C3380CC4-5D6E-409C-BE32-E72D297353CC}">
              <c16:uniqueId val="{0000000B-5283-D348-91E7-C8E55F67F93F}"/>
            </c:ext>
          </c:extLst>
        </c:ser>
        <c:dLbls>
          <c:dLblPos val="ctr"/>
          <c:showLegendKey val="0"/>
          <c:showVal val="1"/>
          <c:showCatName val="0"/>
          <c:showSerName val="0"/>
          <c:showPercent val="0"/>
          <c:showBubbleSize val="0"/>
        </c:dLbls>
        <c:gapWidth val="79"/>
        <c:overlap val="100"/>
        <c:axId val="665235488"/>
        <c:axId val="665237136"/>
      </c:barChart>
      <c:catAx>
        <c:axId val="66523548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cap="all" spc="120" normalizeH="0" baseline="0">
                <a:solidFill>
                  <a:schemeClr val="tx1">
                    <a:lumMod val="65000"/>
                    <a:lumOff val="35000"/>
                  </a:schemeClr>
                </a:solidFill>
                <a:latin typeface="+mn-lt"/>
                <a:ea typeface="+mn-ea"/>
                <a:cs typeface="+mn-cs"/>
              </a:defRPr>
            </a:pPr>
            <a:endParaRPr lang="en-US"/>
          </a:p>
        </c:txPr>
        <c:crossAx val="665237136"/>
        <c:crosses val="autoZero"/>
        <c:auto val="1"/>
        <c:lblAlgn val="ctr"/>
        <c:lblOffset val="100"/>
        <c:noMultiLvlLbl val="0"/>
      </c:catAx>
      <c:valAx>
        <c:axId val="665237136"/>
        <c:scaling>
          <c:orientation val="minMax"/>
        </c:scaling>
        <c:delete val="1"/>
        <c:axPos val="l"/>
        <c:numFmt formatCode="_([$$-409]* #,##0.00_);_([$$-409]* \(#,##0.00\);_([$$-409]* &quot;-&quot;??_);_(@_)" sourceLinked="1"/>
        <c:majorTickMark val="none"/>
        <c:minorTickMark val="none"/>
        <c:tickLblPos val="nextTo"/>
        <c:crossAx val="665235488"/>
        <c:crosses val="autoZero"/>
        <c:crossBetween val="between"/>
      </c:valAx>
      <c:spPr>
        <a:noFill/>
        <a:ln>
          <a:noFill/>
        </a:ln>
        <a:effectLst/>
      </c:spPr>
    </c:plotArea>
    <c:legend>
      <c:legendPos val="t"/>
      <c:layout>
        <c:manualLayout>
          <c:xMode val="edge"/>
          <c:yMode val="edge"/>
          <c:x val="5.0000023530862373E-2"/>
          <c:y val="0.17189798844223572"/>
          <c:w val="0.94781466528054192"/>
          <c:h val="5.941904386845564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a:t>Aggregate Cost to Produce vs Kootha, Surjek, and Jutik</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a CtP</c:v>
          </c:tx>
          <c:spPr>
            <a:ln w="22225" cap="rnd">
              <a:solidFill>
                <a:schemeClr val="accent1"/>
              </a:solidFill>
              <a:round/>
            </a:ln>
            <a:effectLst/>
          </c:spPr>
          <c:marker>
            <c:symbol val="diamond"/>
            <c:size val="6"/>
            <c:spPr>
              <a:solidFill>
                <a:srgbClr val="002060"/>
              </a:solidFill>
              <a:ln w="9525">
                <a:solidFill>
                  <a:schemeClr val="accent1"/>
                </a:solidFill>
                <a:round/>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768F-FD45-855C-81B55CFADE40}"/>
            </c:ext>
          </c:extLst>
        </c:ser>
        <c:ser>
          <c:idx val="1"/>
          <c:order val="1"/>
          <c:tx>
            <c:v>Surjek CtP</c:v>
          </c:tx>
          <c:spPr>
            <a:ln w="22225" cap="rnd">
              <a:solidFill>
                <a:schemeClr val="accent6">
                  <a:lumMod val="50000"/>
                </a:schemeClr>
              </a:solidFill>
              <a:round/>
            </a:ln>
            <a:effectLst/>
          </c:spPr>
          <c:marker>
            <c:symbol val="square"/>
            <c:size val="6"/>
            <c:spPr>
              <a:solidFill>
                <a:schemeClr val="accent6">
                  <a:lumMod val="60000"/>
                  <a:lumOff val="40000"/>
                </a:schemeClr>
              </a:solidFill>
              <a:ln w="9525">
                <a:solidFill>
                  <a:schemeClr val="accent6">
                    <a:lumMod val="50000"/>
                  </a:schemeClr>
                </a:solidFill>
                <a:round/>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63.548141350342334</c:v>
                </c:pt>
                <c:pt idx="2">
                  <c:v>64.227622329305419</c:v>
                </c:pt>
                <c:pt idx="3">
                  <c:v>86.114390765391605</c:v>
                </c:pt>
                <c:pt idx="4">
                  <c:v>93.154665009352783</c:v>
                </c:pt>
                <c:pt idx="5">
                  <c:v>60.282844055757096</c:v>
                </c:pt>
                <c:pt idx="6">
                  <c:v>65.067365006785934</c:v>
                </c:pt>
                <c:pt idx="7">
                  <c:v>76.608688849668042</c:v>
                </c:pt>
                <c:pt idx="8">
                  <c:v>69.840677725878052</c:v>
                </c:pt>
                <c:pt idx="9">
                  <c:v>75.059674320945234</c:v>
                </c:pt>
                <c:pt idx="10">
                  <c:v>88.019078984574904</c:v>
                </c:pt>
                <c:pt idx="11">
                  <c:v>39.489746721725204</c:v>
                </c:pt>
              </c:numCache>
            </c:numRef>
          </c:val>
          <c:smooth val="0"/>
          <c:extLst>
            <c:ext xmlns:c16="http://schemas.microsoft.com/office/drawing/2014/chart" uri="{C3380CC4-5D6E-409C-BE32-E72D297353CC}">
              <c16:uniqueId val="{00000001-768F-FD45-855C-81B55CFADE40}"/>
            </c:ext>
          </c:extLst>
        </c:ser>
        <c:ser>
          <c:idx val="2"/>
          <c:order val="2"/>
          <c:tx>
            <c:v>Jutik CtP</c:v>
          </c:tx>
          <c:spPr>
            <a:ln w="22225" cap="rnd">
              <a:solidFill>
                <a:schemeClr val="accent2"/>
              </a:solidFill>
              <a:round/>
            </a:ln>
            <a:effectLst/>
          </c:spPr>
          <c:marker>
            <c:symbol val="triangle"/>
            <c:size val="6"/>
            <c:spPr>
              <a:solidFill>
                <a:srgbClr val="FF0000"/>
              </a:solidFill>
              <a:ln w="9525">
                <a:solidFill>
                  <a:schemeClr val="accent3"/>
                </a:solidFill>
                <a:round/>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768F-FD45-855C-81B55CFADE40}"/>
            </c:ext>
          </c:extLst>
        </c:ser>
        <c:ser>
          <c:idx val="3"/>
          <c:order val="3"/>
          <c:tx>
            <c:v>Overall CtP</c:v>
          </c:tx>
          <c:spPr>
            <a:ln w="44450" cap="rnd">
              <a:solidFill>
                <a:schemeClr val="tx1"/>
              </a:solidFill>
              <a:round/>
            </a:ln>
            <a:effectLst/>
          </c:spPr>
          <c:marker>
            <c:symbol val="x"/>
            <c:size val="6"/>
            <c:spPr>
              <a:noFill/>
              <a:ln w="9525">
                <a:solidFill>
                  <a:schemeClr val="accent4"/>
                </a:solidFill>
                <a:round/>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768F-FD45-855C-81B55CFADE40}"/>
            </c:ext>
          </c:extLst>
        </c:ser>
        <c:dLbls>
          <c:dLblPos val="ctr"/>
          <c:showLegendKey val="0"/>
          <c:showVal val="1"/>
          <c:showCatName val="0"/>
          <c:showSerName val="0"/>
          <c:showPercent val="0"/>
          <c:showBubbleSize val="0"/>
        </c:dLbls>
        <c:marker val="1"/>
        <c:smooth val="0"/>
        <c:axId val="351385616"/>
        <c:axId val="352070864"/>
      </c:lineChart>
      <c:dateAx>
        <c:axId val="35138561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352070864"/>
        <c:crosses val="autoZero"/>
        <c:auto val="1"/>
        <c:lblOffset val="100"/>
        <c:baseTimeUnit val="months"/>
      </c:dateAx>
      <c:valAx>
        <c:axId val="352070864"/>
        <c:scaling>
          <c:orientation val="minMax"/>
        </c:scaling>
        <c:delete val="0"/>
        <c:axPos val="l"/>
        <c:numFmt formatCode="&quot;$&quot;#,##0.00;[Red]\-&quot;$&quot;#,##0.00\ &quot;$/ML&quot;"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1385616"/>
        <c:crosses val="autoZero"/>
        <c:crossBetween val="between"/>
        <c:dispUnits>
          <c:builtInUnit val="millions"/>
          <c:dispUnitsLbl>
            <c:spPr>
              <a:noFill/>
              <a:ln>
                <a:noFill/>
              </a:ln>
              <a:effectLst/>
            </c:spPr>
            <c:txPr>
              <a:bodyPr rot="-5400000" spcFirstLastPara="1" vertOverflow="ellipsis" vert="horz" wrap="square" anchor="ctr" anchorCtr="1"/>
              <a:lstStyle/>
              <a:p>
                <a:pPr>
                  <a:defRPr sz="900" b="0" i="0" u="none" strike="noStrike" kern="1200" cap="all"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0"/>
              <a:t>Kootha Scatter Plot </a:t>
            </a:r>
          </a:p>
          <a:p>
            <a:pPr>
              <a:defRPr/>
            </a:pPr>
            <a:r>
              <a:rPr lang="en-US" b="0"/>
              <a:t>(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Cost Analysis'!$G$21:$R$21</c:f>
              <c:numCache>
                <c:formatCode>#,##0.00</c:formatCode>
                <c:ptCount val="12"/>
                <c:pt idx="0">
                  <c:v>181933.291</c:v>
                </c:pt>
                <c:pt idx="1">
                  <c:v>187443.943</c:v>
                </c:pt>
                <c:pt idx="2">
                  <c:v>184773.65699999998</c:v>
                </c:pt>
                <c:pt idx="3">
                  <c:v>191541.09299999999</c:v>
                </c:pt>
                <c:pt idx="4">
                  <c:v>98096.062000000005</c:v>
                </c:pt>
                <c:pt idx="5">
                  <c:v>185306.853</c:v>
                </c:pt>
                <c:pt idx="6">
                  <c:v>186901.43900000001</c:v>
                </c:pt>
                <c:pt idx="7">
                  <c:v>158586.76500000001</c:v>
                </c:pt>
                <c:pt idx="8">
                  <c:v>191403.67599999998</c:v>
                </c:pt>
                <c:pt idx="9">
                  <c:v>171057.864</c:v>
                </c:pt>
                <c:pt idx="10">
                  <c:v>169286.99900000001</c:v>
                </c:pt>
                <c:pt idx="11">
                  <c:v>142508.717</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9AFD-DF4A-8D04-5890B1F3DCC6}"/>
            </c:ext>
          </c:extLst>
        </c:ser>
        <c:dLbls>
          <c:showLegendKey val="0"/>
          <c:showVal val="0"/>
          <c:showCatName val="0"/>
          <c:showSerName val="0"/>
          <c:showPercent val="0"/>
          <c:showBubbleSize val="0"/>
        </c:dLbls>
        <c:axId val="1803816575"/>
        <c:axId val="1804118367"/>
      </c:scatterChart>
      <c:valAx>
        <c:axId val="1803816575"/>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4118367"/>
        <c:crosses val="autoZero"/>
        <c:crossBetween val="midCat"/>
      </c:valAx>
      <c:valAx>
        <c:axId val="180411836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38165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 Scatter Plot</a:t>
            </a:r>
          </a:p>
          <a:p>
            <a:pPr>
              <a:defRPr/>
            </a:pPr>
            <a:r>
              <a:rPr lang="en-US" b="1"/>
              <a:t>(Cost to Produce vs. Volume</a:t>
            </a:r>
            <a:r>
              <a:rPr lang="en-US" b="1" baseline="0"/>
              <a:t> of Water Produc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6">
                  <a:lumMod val="75000"/>
                </a:schemeClr>
              </a:solidFill>
              <a:ln w="9525">
                <a:solidFill>
                  <a:schemeClr val="accent6">
                    <a:lumMod val="50000"/>
                  </a:schemeClr>
                </a:solidFill>
              </a:ln>
              <a:effectLst/>
            </c:spPr>
          </c:marker>
          <c:xVal>
            <c:numRef>
              <c:f>'Economic Cost Analysis'!$G$32:$R$32</c:f>
              <c:numCache>
                <c:formatCode>#,##0.00</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G$33:$R$33</c:f>
              <c:numCache>
                <c:formatCode>"$"#,##0.00;[Red]\-"$"#,##0.00\ "$/ML"</c:formatCode>
                <c:ptCount val="12"/>
                <c:pt idx="0">
                  <c:v>52.749704483604205</c:v>
                </c:pt>
                <c:pt idx="1">
                  <c:v>63.548141350342334</c:v>
                </c:pt>
                <c:pt idx="2">
                  <c:v>64.227622329305419</c:v>
                </c:pt>
                <c:pt idx="3">
                  <c:v>86.114390765391605</c:v>
                </c:pt>
                <c:pt idx="4">
                  <c:v>93.154665009352783</c:v>
                </c:pt>
                <c:pt idx="5">
                  <c:v>60.282844055757096</c:v>
                </c:pt>
                <c:pt idx="6">
                  <c:v>65.067365006785934</c:v>
                </c:pt>
                <c:pt idx="7">
                  <c:v>76.608688849668042</c:v>
                </c:pt>
                <c:pt idx="8">
                  <c:v>69.840677725878052</c:v>
                </c:pt>
                <c:pt idx="9">
                  <c:v>75.059674320945234</c:v>
                </c:pt>
                <c:pt idx="10">
                  <c:v>88.019078984574904</c:v>
                </c:pt>
                <c:pt idx="11">
                  <c:v>39.489746721725204</c:v>
                </c:pt>
              </c:numCache>
            </c:numRef>
          </c:yVal>
          <c:smooth val="0"/>
          <c:extLst>
            <c:ext xmlns:c16="http://schemas.microsoft.com/office/drawing/2014/chart" uri="{C3380CC4-5D6E-409C-BE32-E72D297353CC}">
              <c16:uniqueId val="{00000000-C8BC-D74B-AE89-32AB06228A6B}"/>
            </c:ext>
          </c:extLst>
        </c:ser>
        <c:dLbls>
          <c:showLegendKey val="0"/>
          <c:showVal val="0"/>
          <c:showCatName val="0"/>
          <c:showSerName val="0"/>
          <c:showPercent val="0"/>
          <c:showBubbleSize val="0"/>
        </c:dLbls>
        <c:axId val="1834815471"/>
        <c:axId val="1834085887"/>
      </c:scatterChart>
      <c:valAx>
        <c:axId val="1834815471"/>
        <c:scaling>
          <c:orientation val="minMax"/>
          <c:min val="20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4085887"/>
        <c:crosses val="autoZero"/>
        <c:crossBetween val="midCat"/>
        <c:majorUnit val="50000"/>
      </c:valAx>
      <c:valAx>
        <c:axId val="183408588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481547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 Scatter Plot</a:t>
            </a:r>
          </a:p>
          <a:p>
            <a:pPr>
              <a:defRPr/>
            </a:pPr>
            <a:r>
              <a:rPr lang="en-US"/>
              <a:t>(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2"/>
              </a:solidFill>
              <a:ln w="9525">
                <a:solidFill>
                  <a:schemeClr val="accent2"/>
                </a:solidFill>
              </a:ln>
              <a:effectLst/>
            </c:spPr>
          </c:marker>
          <c:xVal>
            <c:numRef>
              <c:f>'Economic Cost Analysis'!$G$43:$R$43</c:f>
              <c:numCache>
                <c:formatCode>#,##0.00</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8857-BE4E-BD93-58AC65639C6F}"/>
            </c:ext>
          </c:extLst>
        </c:ser>
        <c:dLbls>
          <c:showLegendKey val="0"/>
          <c:showVal val="0"/>
          <c:showCatName val="0"/>
          <c:showSerName val="0"/>
          <c:showPercent val="0"/>
          <c:showBubbleSize val="0"/>
        </c:dLbls>
        <c:axId val="1778740143"/>
        <c:axId val="1794145855"/>
      </c:scatterChart>
      <c:valAx>
        <c:axId val="1778740143"/>
        <c:scaling>
          <c:orientation val="minMax"/>
          <c:min val="15000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145855"/>
        <c:crosses val="autoZero"/>
        <c:crossBetween val="midCat"/>
      </c:valAx>
      <c:valAx>
        <c:axId val="179414585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87401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a:t>Overall WMBP</a:t>
            </a:r>
            <a:r>
              <a:rPr lang="en-US" sz="1400" b="1" baseline="0"/>
              <a:t> and Quantity Demanded (Monthly Average)</a:t>
            </a:r>
            <a:endParaRPr lang="en-US" sz="1400"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7662-7348-80C8-AE7310B025F4}"/>
            </c:ext>
          </c:extLst>
        </c:ser>
        <c:dLbls>
          <c:showLegendKey val="0"/>
          <c:showVal val="0"/>
          <c:showCatName val="0"/>
          <c:showSerName val="0"/>
          <c:showPercent val="0"/>
          <c:showBubbleSize val="0"/>
        </c:dLbls>
        <c:axId val="669235680"/>
        <c:axId val="669047408"/>
      </c:scatterChart>
      <c:valAx>
        <c:axId val="669235680"/>
        <c:scaling>
          <c:orientation val="minMax"/>
          <c:min val="7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9047408"/>
        <c:crosses val="autoZero"/>
        <c:crossBetween val="midCat"/>
      </c:valAx>
      <c:valAx>
        <c:axId val="66904740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92356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Hard Water WMBP</a:t>
            </a:r>
            <a:r>
              <a:rPr lang="en-US" b="1" baseline="0"/>
              <a:t> and Quantity Demand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Market Analysis'!$C$21:$N$21</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22:$N$22</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2726-1A46-BE52-2939C46C91D2}"/>
            </c:ext>
          </c:extLst>
        </c:ser>
        <c:dLbls>
          <c:showLegendKey val="0"/>
          <c:showVal val="0"/>
          <c:showCatName val="0"/>
          <c:showSerName val="0"/>
          <c:showPercent val="0"/>
          <c:showBubbleSize val="0"/>
        </c:dLbls>
        <c:axId val="661304288"/>
        <c:axId val="660661664"/>
      </c:scatterChart>
      <c:valAx>
        <c:axId val="661304288"/>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0661664"/>
        <c:crosses val="autoZero"/>
        <c:crossBetween val="midCat"/>
      </c:valAx>
      <c:valAx>
        <c:axId val="6606616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13042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oft Water WMBP</a:t>
            </a:r>
            <a:r>
              <a:rPr lang="en-US" b="1" baseline="0"/>
              <a:t> and Quantity Demand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Market Analysis'!$D$27:$O$27</c:f>
              <c:numCache>
                <c:formatCode>"$"#,##0.00</c:formatCode>
                <c:ptCount val="12"/>
                <c:pt idx="0">
                  <c:v>63.031776721938691</c:v>
                </c:pt>
                <c:pt idx="1">
                  <c:v>52.441594389168138</c:v>
                </c:pt>
                <c:pt idx="2">
                  <c:v>51.963278490860944</c:v>
                </c:pt>
                <c:pt idx="3">
                  <c:v>49.10979825327</c:v>
                </c:pt>
                <c:pt idx="4">
                  <c:v>51.461810151515095</c:v>
                </c:pt>
                <c:pt idx="5">
                  <c:v>60.395873207885266</c:v>
                </c:pt>
                <c:pt idx="6">
                  <c:v>56.719599991853968</c:v>
                </c:pt>
                <c:pt idx="7">
                  <c:v>55.143418813131255</c:v>
                </c:pt>
                <c:pt idx="8">
                  <c:v>57.362720698924704</c:v>
                </c:pt>
                <c:pt idx="9">
                  <c:v>54.372058161976852</c:v>
                </c:pt>
                <c:pt idx="10">
                  <c:v>55.520378176930556</c:v>
                </c:pt>
              </c:numCache>
            </c:numRef>
          </c:xVal>
          <c:yVal>
            <c:numRef>
              <c:f>'Economic Market Analysis'!$D$28:$O$28</c:f>
              <c:numCache>
                <c:formatCode>#,##0.00</c:formatCode>
                <c:ptCount val="12"/>
                <c:pt idx="0">
                  <c:v>2278.9148920918328</c:v>
                </c:pt>
                <c:pt idx="1">
                  <c:v>2051.8848246648477</c:v>
                </c:pt>
                <c:pt idx="2">
                  <c:v>2022.0853898845555</c:v>
                </c:pt>
                <c:pt idx="3">
                  <c:v>2047.9829256126895</c:v>
                </c:pt>
                <c:pt idx="4">
                  <c:v>2100.1843645292161</c:v>
                </c:pt>
                <c:pt idx="5">
                  <c:v>2122.8352936827923</c:v>
                </c:pt>
                <c:pt idx="6">
                  <c:v>2101.2698990655363</c:v>
                </c:pt>
                <c:pt idx="7">
                  <c:v>2045.3439327209553</c:v>
                </c:pt>
                <c:pt idx="8">
                  <c:v>2009.1871525537595</c:v>
                </c:pt>
                <c:pt idx="9">
                  <c:v>2098.4211861697281</c:v>
                </c:pt>
                <c:pt idx="10">
                  <c:v>2180.7985733748733</c:v>
                </c:pt>
              </c:numCache>
            </c:numRef>
          </c:yVal>
          <c:smooth val="0"/>
          <c:extLst>
            <c:ext xmlns:c16="http://schemas.microsoft.com/office/drawing/2014/chart" uri="{C3380CC4-5D6E-409C-BE32-E72D297353CC}">
              <c16:uniqueId val="{00000000-3AA5-BA45-8120-1938CD3D87E2}"/>
            </c:ext>
          </c:extLst>
        </c:ser>
        <c:dLbls>
          <c:showLegendKey val="0"/>
          <c:showVal val="0"/>
          <c:showCatName val="0"/>
          <c:showSerName val="0"/>
          <c:showPercent val="0"/>
          <c:showBubbleSize val="0"/>
        </c:dLbls>
        <c:axId val="335133888"/>
        <c:axId val="652120384"/>
      </c:scatterChart>
      <c:valAx>
        <c:axId val="335133888"/>
        <c:scaling>
          <c:orientation val="minMax"/>
          <c:min val="45"/>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2120384"/>
        <c:crosses val="autoZero"/>
        <c:crossBetween val="midCat"/>
      </c:valAx>
      <c:valAx>
        <c:axId val="6521203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51338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Overall WMBP and Quantity Demanded (Dail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Southern Water Corp Economics Case Study_Hazel Won v2.xlsx]Water Trading Repository Table'!$B:$B</c:f>
              <c:numCache>
                <c:formatCode>General</c:formatCode>
                <c:ptCount val="1048576"/>
                <c:pt idx="1">
                  <c:v>0</c:v>
                </c:pt>
                <c:pt idx="2" formatCode="0.00">
                  <c:v>2674.4304999999999</c:v>
                </c:pt>
                <c:pt idx="3" formatCode="0.00">
                  <c:v>2576.1278333333298</c:v>
                </c:pt>
                <c:pt idx="4" formatCode="0.00">
                  <c:v>2131.9819583333301</c:v>
                </c:pt>
                <c:pt idx="5" formatCode="0.00">
                  <c:v>2772.0559583333302</c:v>
                </c:pt>
                <c:pt idx="6" formatCode="0.00">
                  <c:v>2143.486625</c:v>
                </c:pt>
                <c:pt idx="7" formatCode="0.00">
                  <c:v>2682.031125</c:v>
                </c:pt>
                <c:pt idx="8" formatCode="0.00">
                  <c:v>1788.07475</c:v>
                </c:pt>
                <c:pt idx="9" formatCode="0.00">
                  <c:v>2082.8450909090898</c:v>
                </c:pt>
                <c:pt idx="10" formatCode="0.00">
                  <c:v>1815.8505</c:v>
                </c:pt>
                <c:pt idx="11" formatCode="0.00">
                  <c:v>2219.27536363636</c:v>
                </c:pt>
                <c:pt idx="12" formatCode="0.00">
                  <c:v>2142.3453</c:v>
                </c:pt>
                <c:pt idx="13" formatCode="0.00">
                  <c:v>2169.7437083333298</c:v>
                </c:pt>
                <c:pt idx="14" formatCode="0.00">
                  <c:v>2228.9214999999999</c:v>
                </c:pt>
                <c:pt idx="15" formatCode="0.00">
                  <c:v>2289.4490000000001</c:v>
                </c:pt>
                <c:pt idx="16" formatCode="0.00">
                  <c:v>1966.19391666666</c:v>
                </c:pt>
                <c:pt idx="17" formatCode="0.00">
                  <c:v>2222.9840416666598</c:v>
                </c:pt>
                <c:pt idx="18" formatCode="0.00">
                  <c:v>1651.58858333333</c:v>
                </c:pt>
                <c:pt idx="19" formatCode="0.00">
                  <c:v>1957.57495833333</c:v>
                </c:pt>
                <c:pt idx="20" formatCode="0.00">
                  <c:v>1865.0249999999901</c:v>
                </c:pt>
                <c:pt idx="21" formatCode="0.00">
                  <c:v>2157.2933333333299</c:v>
                </c:pt>
                <c:pt idx="22" formatCode="0.00">
                  <c:v>1933.9007916666601</c:v>
                </c:pt>
                <c:pt idx="23" formatCode="0.00">
                  <c:v>2161.194375</c:v>
                </c:pt>
                <c:pt idx="24" formatCode="0.00">
                  <c:v>1672.51316666666</c:v>
                </c:pt>
                <c:pt idx="25" formatCode="0.00">
                  <c:v>1928.0590416666601</c:v>
                </c:pt>
                <c:pt idx="26" formatCode="0.00">
                  <c:v>1863.6369999999899</c:v>
                </c:pt>
                <c:pt idx="27" formatCode="0.00">
                  <c:v>2185.68658333333</c:v>
                </c:pt>
                <c:pt idx="28" formatCode="0.00">
                  <c:v>2185.5760416666599</c:v>
                </c:pt>
                <c:pt idx="29" formatCode="0.00">
                  <c:v>3175.2769166666599</c:v>
                </c:pt>
                <c:pt idx="30" formatCode="0.00">
                  <c:v>2648.79408333333</c:v>
                </c:pt>
                <c:pt idx="31" formatCode="0.00">
                  <c:v>3164.5167499999998</c:v>
                </c:pt>
                <c:pt idx="32" formatCode="0.00">
                  <c:v>2308.0395416666602</c:v>
                </c:pt>
                <c:pt idx="33" formatCode="0.00">
                  <c:v>2417.7790416666599</c:v>
                </c:pt>
                <c:pt idx="34" formatCode="0.00">
                  <c:v>1961.419625</c:v>
                </c:pt>
                <c:pt idx="35" formatCode="0.00">
                  <c:v>2127.0714583333302</c:v>
                </c:pt>
                <c:pt idx="36" formatCode="0.00">
                  <c:v>2004.6923124999901</c:v>
                </c:pt>
                <c:pt idx="37" formatCode="0.00">
                  <c:v>2200.4989999999998</c:v>
                </c:pt>
                <c:pt idx="38" formatCode="0.00">
                  <c:v>1839.5621428571401</c:v>
                </c:pt>
                <c:pt idx="39" formatCode="0.00">
                  <c:v>2184.156125</c:v>
                </c:pt>
                <c:pt idx="40" formatCode="0.00">
                  <c:v>1748.4124999999999</c:v>
                </c:pt>
                <c:pt idx="41" formatCode="0.00">
                  <c:v>2417.6507083333299</c:v>
                </c:pt>
                <c:pt idx="42" formatCode="0.00">
                  <c:v>2067.5482916666601</c:v>
                </c:pt>
                <c:pt idx="43" formatCode="0.00">
                  <c:v>2572.71675</c:v>
                </c:pt>
                <c:pt idx="44" formatCode="0.00">
                  <c:v>2070.56383333333</c:v>
                </c:pt>
                <c:pt idx="45" formatCode="0.00">
                  <c:v>2702.1071666666599</c:v>
                </c:pt>
                <c:pt idx="46" formatCode="0.00">
                  <c:v>2155.5055416666601</c:v>
                </c:pt>
                <c:pt idx="47" formatCode="0.00">
                  <c:v>2449.9735416666599</c:v>
                </c:pt>
                <c:pt idx="48" formatCode="0.00">
                  <c:v>1994.9894545454499</c:v>
                </c:pt>
                <c:pt idx="49" formatCode="0.00">
                  <c:v>2281.8349166666599</c:v>
                </c:pt>
                <c:pt idx="50" formatCode="0.00">
                  <c:v>1951.5263333333301</c:v>
                </c:pt>
                <c:pt idx="51" formatCode="0.00">
                  <c:v>2341.0592916666601</c:v>
                </c:pt>
                <c:pt idx="52" formatCode="0.00">
                  <c:v>1823.6909166666601</c:v>
                </c:pt>
                <c:pt idx="53" formatCode="0.00">
                  <c:v>2288.3790416666602</c:v>
                </c:pt>
                <c:pt idx="54" formatCode="0.00">
                  <c:v>1833.969625</c:v>
                </c:pt>
                <c:pt idx="55" formatCode="0.00">
                  <c:v>2465.6632500000001</c:v>
                </c:pt>
                <c:pt idx="56" formatCode="0.00">
                  <c:v>1844.722</c:v>
                </c:pt>
                <c:pt idx="57" formatCode="0.00">
                  <c:v>2259.0371666666601</c:v>
                </c:pt>
                <c:pt idx="58" formatCode="0.00">
                  <c:v>1988.9660833333301</c:v>
                </c:pt>
                <c:pt idx="59" formatCode="0.00">
                  <c:v>2498.4301666666602</c:v>
                </c:pt>
                <c:pt idx="60" formatCode="0.00">
                  <c:v>2064.4832499999902</c:v>
                </c:pt>
                <c:pt idx="61" formatCode="0.00">
                  <c:v>2629.6935416666602</c:v>
                </c:pt>
                <c:pt idx="62" formatCode="0.00">
                  <c:v>2088.8087500000001</c:v>
                </c:pt>
                <c:pt idx="63" formatCode="0.00">
                  <c:v>2670.88983333333</c:v>
                </c:pt>
                <c:pt idx="64" formatCode="0.00">
                  <c:v>2061.80587499999</c:v>
                </c:pt>
                <c:pt idx="65" formatCode="0.00">
                  <c:v>2388.2006249999999</c:v>
                </c:pt>
                <c:pt idx="66" formatCode="0.00">
                  <c:v>2012.0826666666601</c:v>
                </c:pt>
                <c:pt idx="67" formatCode="0.00">
                  <c:v>2765.58395833333</c:v>
                </c:pt>
                <c:pt idx="68" formatCode="0.00">
                  <c:v>1877.6705833333299</c:v>
                </c:pt>
                <c:pt idx="69" formatCode="0.00">
                  <c:v>2193.5964166666599</c:v>
                </c:pt>
                <c:pt idx="70" formatCode="0.00">
                  <c:v>2175.5892142857101</c:v>
                </c:pt>
                <c:pt idx="71" formatCode="0.00">
                  <c:v>2378.2999583333299</c:v>
                </c:pt>
                <c:pt idx="72" formatCode="0.00">
                  <c:v>2051.6291428571399</c:v>
                </c:pt>
                <c:pt idx="73" formatCode="0.00">
                  <c:v>2120.0478750000002</c:v>
                </c:pt>
                <c:pt idx="74" formatCode="0.00">
                  <c:v>1760.261375</c:v>
                </c:pt>
                <c:pt idx="75" formatCode="0.00">
                  <c:v>2111.6414583333299</c:v>
                </c:pt>
                <c:pt idx="76" formatCode="0.00">
                  <c:v>2026.5122916666601</c:v>
                </c:pt>
                <c:pt idx="77" formatCode="0.00">
                  <c:v>2289.0562083333298</c:v>
                </c:pt>
                <c:pt idx="78" formatCode="0.00">
                  <c:v>1996.34679166666</c:v>
                </c:pt>
                <c:pt idx="79" formatCode="0.00">
                  <c:v>2194.7312916666601</c:v>
                </c:pt>
                <c:pt idx="80" formatCode="0.00">
                  <c:v>1922.08879166666</c:v>
                </c:pt>
                <c:pt idx="81" formatCode="0.00">
                  <c:v>2188.2592916666599</c:v>
                </c:pt>
                <c:pt idx="82" formatCode="0.00">
                  <c:v>1805.3314583333299</c:v>
                </c:pt>
                <c:pt idx="83" formatCode="0.00">
                  <c:v>1953.63308333333</c:v>
                </c:pt>
                <c:pt idx="84" formatCode="0.00">
                  <c:v>1709.93233333333</c:v>
                </c:pt>
                <c:pt idx="85" formatCode="0.00">
                  <c:v>2004.21187499999</c:v>
                </c:pt>
                <c:pt idx="86" formatCode="0.00">
                  <c:v>1882.4137083333301</c:v>
                </c:pt>
                <c:pt idx="87" formatCode="0.00">
                  <c:v>2126.41379166666</c:v>
                </c:pt>
                <c:pt idx="88" formatCode="0.00">
                  <c:v>2547.8222500000002</c:v>
                </c:pt>
                <c:pt idx="89" formatCode="0.00">
                  <c:v>3266.0770833333299</c:v>
                </c:pt>
                <c:pt idx="90" formatCode="0.00">
                  <c:v>2419.2827499999999</c:v>
                </c:pt>
                <c:pt idx="91" formatCode="0.00">
                  <c:v>2691.4539999999902</c:v>
                </c:pt>
                <c:pt idx="92" formatCode="0.00">
                  <c:v>2256.8607499999998</c:v>
                </c:pt>
                <c:pt idx="93" formatCode="0.00">
                  <c:v>2775.1006666666599</c:v>
                </c:pt>
                <c:pt idx="94" formatCode="0.00">
                  <c:v>2142.8525833333301</c:v>
                </c:pt>
                <c:pt idx="95" formatCode="0.00">
                  <c:v>2670.6450833333301</c:v>
                </c:pt>
                <c:pt idx="96" formatCode="0.00">
                  <c:v>1874.96795833333</c:v>
                </c:pt>
                <c:pt idx="97" formatCode="0.00">
                  <c:v>2058.6119166666599</c:v>
                </c:pt>
                <c:pt idx="98" formatCode="0.00">
                  <c:v>1985.4231</c:v>
                </c:pt>
                <c:pt idx="99" formatCode="0.00">
                  <c:v>2291.04</c:v>
                </c:pt>
                <c:pt idx="100" formatCode="0.00">
                  <c:v>2199.879625</c:v>
                </c:pt>
                <c:pt idx="101" formatCode="0.00">
                  <c:v>2610.51429166666</c:v>
                </c:pt>
                <c:pt idx="102" formatCode="0.00">
                  <c:v>2211.9007083333299</c:v>
                </c:pt>
                <c:pt idx="103" formatCode="0.00">
                  <c:v>3203.9935833333302</c:v>
                </c:pt>
                <c:pt idx="104" formatCode="0.00">
                  <c:v>2531.7787499999999</c:v>
                </c:pt>
                <c:pt idx="105" formatCode="0.00">
                  <c:v>3296.54145833333</c:v>
                </c:pt>
                <c:pt idx="106" formatCode="0.00">
                  <c:v>2438.7048749999999</c:v>
                </c:pt>
                <c:pt idx="107" formatCode="0.00">
                  <c:v>2403.74920833333</c:v>
                </c:pt>
                <c:pt idx="108" formatCode="0.00">
                  <c:v>1741.94345833333</c:v>
                </c:pt>
                <c:pt idx="109" formatCode="0.00">
                  <c:v>1985.7389583333299</c:v>
                </c:pt>
                <c:pt idx="110" formatCode="0.00">
                  <c:v>1658.6374166666601</c:v>
                </c:pt>
                <c:pt idx="111" formatCode="0.00">
                  <c:v>2032.0067083333299</c:v>
                </c:pt>
                <c:pt idx="112" formatCode="0.00">
                  <c:v>2014.1435833333301</c:v>
                </c:pt>
                <c:pt idx="113" formatCode="0.00">
                  <c:v>2763.3914999999902</c:v>
                </c:pt>
                <c:pt idx="114" formatCode="0.00">
                  <c:v>2260.07733333333</c:v>
                </c:pt>
                <c:pt idx="115" formatCode="0.00">
                  <c:v>3089.39804166666</c:v>
                </c:pt>
                <c:pt idx="116" formatCode="0.00">
                  <c:v>2268.41604166666</c:v>
                </c:pt>
                <c:pt idx="117" formatCode="0.00">
                  <c:v>2928.5041249999999</c:v>
                </c:pt>
                <c:pt idx="118" formatCode="0.00">
                  <c:v>2219.0850833333302</c:v>
                </c:pt>
                <c:pt idx="119" formatCode="0.00">
                  <c:v>2785.3510000000001</c:v>
                </c:pt>
                <c:pt idx="120" formatCode="0.00">
                  <c:v>2022.3139166666599</c:v>
                </c:pt>
                <c:pt idx="121" formatCode="0.00">
                  <c:v>2246.1746250000001</c:v>
                </c:pt>
                <c:pt idx="122" formatCode="0.00">
                  <c:v>1955.92941666666</c:v>
                </c:pt>
                <c:pt idx="123" formatCode="0.00">
                  <c:v>2746.7552083333298</c:v>
                </c:pt>
                <c:pt idx="124" formatCode="0.00">
                  <c:v>1767.7171249999999</c:v>
                </c:pt>
                <c:pt idx="125" formatCode="0.00">
                  <c:v>2275.6261666666601</c:v>
                </c:pt>
                <c:pt idx="126" formatCode="0.00">
                  <c:v>2016.70516666666</c:v>
                </c:pt>
                <c:pt idx="127" formatCode="0.00">
                  <c:v>2550.7890000000002</c:v>
                </c:pt>
                <c:pt idx="128" formatCode="0.00">
                  <c:v>1815.8290833333299</c:v>
                </c:pt>
                <c:pt idx="129" formatCode="0.00">
                  <c:v>2059.78404166666</c:v>
                </c:pt>
                <c:pt idx="130" formatCode="0.00">
                  <c:v>1758.11533333333</c:v>
                </c:pt>
                <c:pt idx="131" formatCode="0.00">
                  <c:v>2062.8898749999998</c:v>
                </c:pt>
                <c:pt idx="132" formatCode="0.00">
                  <c:v>2008.6056249999999</c:v>
                </c:pt>
                <c:pt idx="133" formatCode="0.00">
                  <c:v>2403.17054166666</c:v>
                </c:pt>
                <c:pt idx="134" formatCode="0.00">
                  <c:v>1802.7807499999999</c:v>
                </c:pt>
                <c:pt idx="135" formatCode="0.00">
                  <c:v>2012.3384166666599</c:v>
                </c:pt>
                <c:pt idx="136" formatCode="0.00">
                  <c:v>1925.6469583333301</c:v>
                </c:pt>
                <c:pt idx="137" formatCode="0.00">
                  <c:v>2278.7637083333302</c:v>
                </c:pt>
                <c:pt idx="138" formatCode="0.00">
                  <c:v>2003.20657142857</c:v>
                </c:pt>
                <c:pt idx="139" formatCode="0.00">
                  <c:v>2089.9385833333299</c:v>
                </c:pt>
                <c:pt idx="140" formatCode="0.00">
                  <c:v>1675.94927272727</c:v>
                </c:pt>
                <c:pt idx="141" formatCode="0.00">
                  <c:v>2098.6694583333301</c:v>
                </c:pt>
                <c:pt idx="142" formatCode="0.00">
                  <c:v>1905.87735</c:v>
                </c:pt>
                <c:pt idx="143" formatCode="0.00">
                  <c:v>2054.7722916666598</c:v>
                </c:pt>
                <c:pt idx="144" formatCode="0.00">
                  <c:v>1897.8969090909</c:v>
                </c:pt>
                <c:pt idx="145" formatCode="0.00">
                  <c:v>2157.9027500000002</c:v>
                </c:pt>
                <c:pt idx="146" formatCode="0.00">
                  <c:v>2109.0095000000001</c:v>
                </c:pt>
                <c:pt idx="147" formatCode="0.00">
                  <c:v>2259.53731818181</c:v>
                </c:pt>
                <c:pt idx="148" formatCode="0.00">
                  <c:v>2036.0522000000001</c:v>
                </c:pt>
                <c:pt idx="149" formatCode="0.00">
                  <c:v>2303.133875</c:v>
                </c:pt>
                <c:pt idx="150" formatCode="0.00">
                  <c:v>1791.6844999999901</c:v>
                </c:pt>
                <c:pt idx="151" formatCode="0.00">
                  <c:v>2076.2275</c:v>
                </c:pt>
                <c:pt idx="152" formatCode="0.00">
                  <c:v>1771.01158333333</c:v>
                </c:pt>
                <c:pt idx="153" formatCode="0.00">
                  <c:v>2304.1829583333301</c:v>
                </c:pt>
                <c:pt idx="154" formatCode="0.00">
                  <c:v>2108.3857083333301</c:v>
                </c:pt>
                <c:pt idx="155" formatCode="0.00">
                  <c:v>2577.1646249999999</c:v>
                </c:pt>
                <c:pt idx="156" formatCode="0.00">
                  <c:v>2107.1595833333299</c:v>
                </c:pt>
                <c:pt idx="157" formatCode="0.00">
                  <c:v>2527.9144166666601</c:v>
                </c:pt>
                <c:pt idx="158" formatCode="0.00">
                  <c:v>2046.2037499999999</c:v>
                </c:pt>
                <c:pt idx="159" formatCode="0.00">
                  <c:v>2268.3677916666602</c:v>
                </c:pt>
                <c:pt idx="160" formatCode="0.00">
                  <c:v>1968.2440909090899</c:v>
                </c:pt>
                <c:pt idx="161" formatCode="0.00">
                  <c:v>2173.0286249999999</c:v>
                </c:pt>
                <c:pt idx="162" formatCode="0.00">
                  <c:v>2010.4895555555499</c:v>
                </c:pt>
                <c:pt idx="163" formatCode="0.00">
                  <c:v>2118.1903750000001</c:v>
                </c:pt>
                <c:pt idx="164" formatCode="0.00">
                  <c:v>1785.1503749999899</c:v>
                </c:pt>
                <c:pt idx="165" formatCode="0.00">
                  <c:v>1962.36544999999</c:v>
                </c:pt>
                <c:pt idx="166" formatCode="0.00">
                  <c:v>1752.3128999999999</c:v>
                </c:pt>
                <c:pt idx="167" formatCode="0.00">
                  <c:v>1970.0640454545401</c:v>
                </c:pt>
                <c:pt idx="168" formatCode="0.00">
                  <c:v>2105.8021250000002</c:v>
                </c:pt>
                <c:pt idx="169" formatCode="0.00">
                  <c:v>2244.6122083333298</c:v>
                </c:pt>
                <c:pt idx="170" formatCode="0.00">
                  <c:v>2130.4705714285701</c:v>
                </c:pt>
                <c:pt idx="171" formatCode="0.00">
                  <c:v>2107.2345416666599</c:v>
                </c:pt>
                <c:pt idx="172" formatCode="0.00">
                  <c:v>1890.0461250000001</c:v>
                </c:pt>
                <c:pt idx="173" formatCode="0.00">
                  <c:v>2064.86241666666</c:v>
                </c:pt>
                <c:pt idx="174" formatCode="0.00">
                  <c:v>1992.3972777777699</c:v>
                </c:pt>
                <c:pt idx="175" formatCode="0.00">
                  <c:v>2193.5958333333301</c:v>
                </c:pt>
                <c:pt idx="176" formatCode="0.00">
                  <c:v>1713.057875</c:v>
                </c:pt>
                <c:pt idx="177" formatCode="0.00">
                  <c:v>1844.6421111111099</c:v>
                </c:pt>
                <c:pt idx="178" formatCode="0.00">
                  <c:v>1794.3062</c:v>
                </c:pt>
                <c:pt idx="179" formatCode="0.00">
                  <c:v>1879.9822222222199</c:v>
                </c:pt>
                <c:pt idx="180" formatCode="0.00">
                  <c:v>1726.2678333333299</c:v>
                </c:pt>
                <c:pt idx="181" formatCode="0.00">
                  <c:v>1909.5529166666599</c:v>
                </c:pt>
                <c:pt idx="182" formatCode="0.00">
                  <c:v>1895.5373499999901</c:v>
                </c:pt>
                <c:pt idx="183" formatCode="0.00">
                  <c:v>2075.2814583333302</c:v>
                </c:pt>
                <c:pt idx="184" formatCode="0.00">
                  <c:v>2204.4625000000001</c:v>
                </c:pt>
                <c:pt idx="185" formatCode="0.00">
                  <c:v>2647.4805833333298</c:v>
                </c:pt>
                <c:pt idx="186" formatCode="0.00">
                  <c:v>1895.28920833333</c:v>
                </c:pt>
                <c:pt idx="187" formatCode="0.00">
                  <c:v>2096.7167083333302</c:v>
                </c:pt>
                <c:pt idx="188" formatCode="0.00">
                  <c:v>2094.1008333333298</c:v>
                </c:pt>
                <c:pt idx="189" formatCode="0.00">
                  <c:v>2630.4309166666599</c:v>
                </c:pt>
                <c:pt idx="190" formatCode="0.00">
                  <c:v>1754.1857499999901</c:v>
                </c:pt>
                <c:pt idx="191" formatCode="0.00">
                  <c:v>1884.8855454545401</c:v>
                </c:pt>
                <c:pt idx="192" formatCode="0.00">
                  <c:v>1949.35475</c:v>
                </c:pt>
                <c:pt idx="193" formatCode="0.00">
                  <c:v>2305.1105416666601</c:v>
                </c:pt>
                <c:pt idx="194" formatCode="0.00">
                  <c:v>2093.9851249999901</c:v>
                </c:pt>
                <c:pt idx="195" formatCode="0.00">
                  <c:v>2421.5386249999901</c:v>
                </c:pt>
                <c:pt idx="196" formatCode="0.00">
                  <c:v>1716.26629166666</c:v>
                </c:pt>
                <c:pt idx="197" formatCode="0.00">
                  <c:v>1981.6607083333299</c:v>
                </c:pt>
                <c:pt idx="198" formatCode="0.00">
                  <c:v>1874.97291666666</c:v>
                </c:pt>
                <c:pt idx="199" formatCode="0.00">
                  <c:v>2096.9939999999901</c:v>
                </c:pt>
                <c:pt idx="200" formatCode="0.00">
                  <c:v>1859.7716666666599</c:v>
                </c:pt>
                <c:pt idx="201" formatCode="0.00">
                  <c:v>2115.2125000000001</c:v>
                </c:pt>
                <c:pt idx="202" formatCode="0.00">
                  <c:v>2080.5575833333301</c:v>
                </c:pt>
                <c:pt idx="203" formatCode="0.00">
                  <c:v>2572.0059999999999</c:v>
                </c:pt>
                <c:pt idx="204" formatCode="0.00">
                  <c:v>1915.4982</c:v>
                </c:pt>
                <c:pt idx="205" formatCode="0.00">
                  <c:v>2139.759</c:v>
                </c:pt>
                <c:pt idx="206" formatCode="0.00">
                  <c:v>1821.2655833333299</c:v>
                </c:pt>
                <c:pt idx="207" formatCode="0.00">
                  <c:v>2098.1899166666599</c:v>
                </c:pt>
                <c:pt idx="208" formatCode="0.00">
                  <c:v>1740.50766666666</c:v>
                </c:pt>
                <c:pt idx="209" formatCode="0.00">
                  <c:v>2164.19929166666</c:v>
                </c:pt>
                <c:pt idx="210" formatCode="0.00">
                  <c:v>2045.9454166666601</c:v>
                </c:pt>
                <c:pt idx="211" formatCode="0.00">
                  <c:v>2398.56170833333</c:v>
                </c:pt>
                <c:pt idx="212" formatCode="0.00">
                  <c:v>2048.9234999999999</c:v>
                </c:pt>
                <c:pt idx="213" formatCode="0.00">
                  <c:v>2373.5059999999999</c:v>
                </c:pt>
                <c:pt idx="214" formatCode="0.00">
                  <c:v>1995.30845833333</c:v>
                </c:pt>
                <c:pt idx="215" formatCode="0.00">
                  <c:v>2278.0785833333298</c:v>
                </c:pt>
                <c:pt idx="216" formatCode="0.00">
                  <c:v>1923.8526666666601</c:v>
                </c:pt>
                <c:pt idx="217" formatCode="0.00">
                  <c:v>2298.48358333333</c:v>
                </c:pt>
                <c:pt idx="218" formatCode="0.00">
                  <c:v>1924.03687499999</c:v>
                </c:pt>
                <c:pt idx="219" formatCode="0.00">
                  <c:v>2205.9349166666598</c:v>
                </c:pt>
                <c:pt idx="220" formatCode="0.00">
                  <c:v>1731.95370833333</c:v>
                </c:pt>
                <c:pt idx="221" formatCode="0.00">
                  <c:v>1932.3406666666599</c:v>
                </c:pt>
                <c:pt idx="222" formatCode="0.00">
                  <c:v>1618.6572916666601</c:v>
                </c:pt>
                <c:pt idx="223" formatCode="0.00">
                  <c:v>1923.4404583333301</c:v>
                </c:pt>
                <c:pt idx="224" formatCode="0.00">
                  <c:v>1879.78416666666</c:v>
                </c:pt>
                <c:pt idx="225" formatCode="0.00">
                  <c:v>2109.7046666666602</c:v>
                </c:pt>
                <c:pt idx="226" formatCode="0.00">
                  <c:v>1805.62670833333</c:v>
                </c:pt>
                <c:pt idx="227" formatCode="0.00">
                  <c:v>2094.1961249999999</c:v>
                </c:pt>
                <c:pt idx="228" formatCode="0.00">
                  <c:v>1835.2183333333301</c:v>
                </c:pt>
                <c:pt idx="229" formatCode="0.00">
                  <c:v>2135.9254999999998</c:v>
                </c:pt>
                <c:pt idx="230" formatCode="0.00">
                  <c:v>1650.9535000000001</c:v>
                </c:pt>
                <c:pt idx="231" formatCode="0.00">
                  <c:v>1909.9368750000001</c:v>
                </c:pt>
                <c:pt idx="232" formatCode="0.00">
                  <c:v>1819.76733333333</c:v>
                </c:pt>
                <c:pt idx="233" formatCode="0.00">
                  <c:v>2076.1788333333302</c:v>
                </c:pt>
                <c:pt idx="234" formatCode="0.00">
                  <c:v>1647.1206666666601</c:v>
                </c:pt>
                <c:pt idx="235" formatCode="0.00">
                  <c:v>1907.8098749999999</c:v>
                </c:pt>
                <c:pt idx="236" formatCode="0.00">
                  <c:v>1546.12645833333</c:v>
                </c:pt>
                <c:pt idx="237" formatCode="0.00">
                  <c:v>1858.03879166666</c:v>
                </c:pt>
                <c:pt idx="238" formatCode="0.00">
                  <c:v>1922.3710000000001</c:v>
                </c:pt>
                <c:pt idx="239" formatCode="0.00">
                  <c:v>2112.4864583333301</c:v>
                </c:pt>
                <c:pt idx="240" formatCode="0.00">
                  <c:v>2040.2557142857099</c:v>
                </c:pt>
                <c:pt idx="241" formatCode="0.00">
                  <c:v>2149.3773333333302</c:v>
                </c:pt>
                <c:pt idx="242" formatCode="0.00">
                  <c:v>1816.9179999999999</c:v>
                </c:pt>
                <c:pt idx="243" formatCode="0.00">
                  <c:v>2432.2733181818098</c:v>
                </c:pt>
                <c:pt idx="244" formatCode="0.00">
                  <c:v>2029.36579166666</c:v>
                </c:pt>
                <c:pt idx="245" formatCode="0.00">
                  <c:v>2417.7076666666599</c:v>
                </c:pt>
                <c:pt idx="246" formatCode="0.00">
                  <c:v>1971.1330416666599</c:v>
                </c:pt>
                <c:pt idx="247" formatCode="0.00">
                  <c:v>2307.2817083333298</c:v>
                </c:pt>
                <c:pt idx="248" formatCode="0.00">
                  <c:v>2072.0460416666601</c:v>
                </c:pt>
                <c:pt idx="249" formatCode="0.00">
                  <c:v>2325.5537083333302</c:v>
                </c:pt>
                <c:pt idx="250" formatCode="0.00">
                  <c:v>1682.53033333333</c:v>
                </c:pt>
                <c:pt idx="251" formatCode="0.00">
                  <c:v>1845.6923750000001</c:v>
                </c:pt>
                <c:pt idx="252" formatCode="0.00">
                  <c:v>1947.2274583333301</c:v>
                </c:pt>
                <c:pt idx="253" formatCode="0.00">
                  <c:v>2272.6708333333299</c:v>
                </c:pt>
                <c:pt idx="254" formatCode="0.00">
                  <c:v>2162.9690416666599</c:v>
                </c:pt>
                <c:pt idx="255" formatCode="0.00">
                  <c:v>2396.8091666666601</c:v>
                </c:pt>
                <c:pt idx="256" formatCode="0.00">
                  <c:v>1959.90287499999</c:v>
                </c:pt>
                <c:pt idx="257" formatCode="0.00">
                  <c:v>2223.83566666666</c:v>
                </c:pt>
                <c:pt idx="258" formatCode="0.00">
                  <c:v>1947.63870833333</c:v>
                </c:pt>
                <c:pt idx="259" formatCode="0.00">
                  <c:v>2195.3652916666601</c:v>
                </c:pt>
                <c:pt idx="260" formatCode="0.00">
                  <c:v>1752.35545833333</c:v>
                </c:pt>
                <c:pt idx="261" formatCode="0.00">
                  <c:v>1953.0465833333301</c:v>
                </c:pt>
                <c:pt idx="262" formatCode="0.00">
                  <c:v>2006.93199999999</c:v>
                </c:pt>
                <c:pt idx="263" formatCode="0.00">
                  <c:v>2167.6819583333299</c:v>
                </c:pt>
                <c:pt idx="264" formatCode="0.00">
                  <c:v>2025.9698333333299</c:v>
                </c:pt>
                <c:pt idx="265" formatCode="0.00">
                  <c:v>2364.0405416666599</c:v>
                </c:pt>
                <c:pt idx="266" formatCode="0.00">
                  <c:v>1953.5266875</c:v>
                </c:pt>
                <c:pt idx="267" formatCode="0.00">
                  <c:v>2081.5011666666601</c:v>
                </c:pt>
                <c:pt idx="268" formatCode="0.00">
                  <c:v>1833.8292916666601</c:v>
                </c:pt>
                <c:pt idx="269" formatCode="0.00">
                  <c:v>2114.1895</c:v>
                </c:pt>
                <c:pt idx="270" formatCode="0.00">
                  <c:v>1983.90711111111</c:v>
                </c:pt>
                <c:pt idx="271" formatCode="0.00">
                  <c:v>2093.3930833333302</c:v>
                </c:pt>
                <c:pt idx="272" formatCode="0.00">
                  <c:v>1989.1543750000001</c:v>
                </c:pt>
                <c:pt idx="273" formatCode="0.00">
                  <c:v>2151.98383333333</c:v>
                </c:pt>
                <c:pt idx="274" formatCode="0.00">
                  <c:v>1885.0945454545399</c:v>
                </c:pt>
                <c:pt idx="275" formatCode="0.00">
                  <c:v>2100.1242499999998</c:v>
                </c:pt>
                <c:pt idx="276" formatCode="0.00">
                  <c:v>1702.1761818181801</c:v>
                </c:pt>
                <c:pt idx="277" formatCode="0.00">
                  <c:v>1951.5956249999999</c:v>
                </c:pt>
                <c:pt idx="278" formatCode="0.00">
                  <c:v>1599.57408333333</c:v>
                </c:pt>
                <c:pt idx="279" formatCode="0.00">
                  <c:v>1928.0886666666599</c:v>
                </c:pt>
                <c:pt idx="280" formatCode="0.00">
                  <c:v>1874.05004166666</c:v>
                </c:pt>
                <c:pt idx="281" formatCode="0.00">
                  <c:v>2228.79675</c:v>
                </c:pt>
                <c:pt idx="282" formatCode="0.00">
                  <c:v>1865.50854166666</c:v>
                </c:pt>
                <c:pt idx="283" formatCode="0.00">
                  <c:v>2147.9385416666601</c:v>
                </c:pt>
                <c:pt idx="284" formatCode="0.00">
                  <c:v>1896.82779166666</c:v>
                </c:pt>
                <c:pt idx="285" formatCode="0.00">
                  <c:v>2179.9699166666601</c:v>
                </c:pt>
                <c:pt idx="286" formatCode="0.00">
                  <c:v>1908.9708333333299</c:v>
                </c:pt>
                <c:pt idx="287" formatCode="0.00">
                  <c:v>2201.0394166666601</c:v>
                </c:pt>
                <c:pt idx="288" formatCode="0.00">
                  <c:v>1941.4735416666599</c:v>
                </c:pt>
                <c:pt idx="289" formatCode="0.00">
                  <c:v>2156.9471250000001</c:v>
                </c:pt>
                <c:pt idx="290" formatCode="0.00">
                  <c:v>1900.7242857142801</c:v>
                </c:pt>
                <c:pt idx="291" formatCode="0.00">
                  <c:v>1990.6963333333299</c:v>
                </c:pt>
                <c:pt idx="292" formatCode="0.00">
                  <c:v>1641.170875</c:v>
                </c:pt>
                <c:pt idx="293" formatCode="0.00">
                  <c:v>1928.3489999999999</c:v>
                </c:pt>
                <c:pt idx="294" formatCode="0.00">
                  <c:v>1902.70066666666</c:v>
                </c:pt>
                <c:pt idx="295" formatCode="0.00">
                  <c:v>2189.06766666666</c:v>
                </c:pt>
                <c:pt idx="296" formatCode="0.00">
                  <c:v>1932.2342083333299</c:v>
                </c:pt>
                <c:pt idx="297" formatCode="0.00">
                  <c:v>2221.4512083333302</c:v>
                </c:pt>
                <c:pt idx="298" formatCode="0.00">
                  <c:v>1911.44145833333</c:v>
                </c:pt>
                <c:pt idx="299" formatCode="0.00">
                  <c:v>2154.5671666666599</c:v>
                </c:pt>
                <c:pt idx="300" formatCode="0.00">
                  <c:v>2086.4557222222202</c:v>
                </c:pt>
                <c:pt idx="301" formatCode="0.00">
                  <c:v>2375.8916249999902</c:v>
                </c:pt>
                <c:pt idx="302" formatCode="0.00">
                  <c:v>2278.90968749999</c:v>
                </c:pt>
                <c:pt idx="303" formatCode="0.00">
                  <c:v>2414.6731818181802</c:v>
                </c:pt>
                <c:pt idx="304" formatCode="0.00">
                  <c:v>1976.13129999999</c:v>
                </c:pt>
                <c:pt idx="305" formatCode="0.00">
                  <c:v>2665.5086249999999</c:v>
                </c:pt>
                <c:pt idx="306" formatCode="0.00">
                  <c:v>2063.6120000000001</c:v>
                </c:pt>
                <c:pt idx="307" formatCode="0.00">
                  <c:v>2220.75304166666</c:v>
                </c:pt>
                <c:pt idx="308" formatCode="0.00">
                  <c:v>2043.6455000000001</c:v>
                </c:pt>
                <c:pt idx="309" formatCode="0.00">
                  <c:v>2350.2772916666599</c:v>
                </c:pt>
                <c:pt idx="310" formatCode="0.00">
                  <c:v>1895.89842857142</c:v>
                </c:pt>
                <c:pt idx="311" formatCode="0.00">
                  <c:v>2092.5697499999901</c:v>
                </c:pt>
                <c:pt idx="312" formatCode="0.00">
                  <c:v>1798.14591666666</c:v>
                </c:pt>
                <c:pt idx="313" formatCode="0.00">
                  <c:v>2105.5673333333302</c:v>
                </c:pt>
                <c:pt idx="314" formatCode="0.00">
                  <c:v>1923.17379166666</c:v>
                </c:pt>
                <c:pt idx="315" formatCode="0.00">
                  <c:v>2208.3795416666599</c:v>
                </c:pt>
                <c:pt idx="316" formatCode="0.00">
                  <c:v>1958.0631249999999</c:v>
                </c:pt>
                <c:pt idx="317" formatCode="0.00">
                  <c:v>2245.5582083333302</c:v>
                </c:pt>
                <c:pt idx="318" formatCode="0.00">
                  <c:v>1918.86162499999</c:v>
                </c:pt>
                <c:pt idx="319" formatCode="0.00">
                  <c:v>2000.08429166666</c:v>
                </c:pt>
                <c:pt idx="320" formatCode="0.00">
                  <c:v>1909.68320833333</c:v>
                </c:pt>
                <c:pt idx="321" formatCode="0.00">
                  <c:v>2065.2884583333298</c:v>
                </c:pt>
                <c:pt idx="322" formatCode="0.00">
                  <c:v>1660.33879166666</c:v>
                </c:pt>
                <c:pt idx="323" formatCode="0.00">
                  <c:v>1883.58904166666</c:v>
                </c:pt>
                <c:pt idx="324" formatCode="0.00">
                  <c:v>1905.7972916666599</c:v>
                </c:pt>
                <c:pt idx="325" formatCode="0.00">
                  <c:v>2126.8541249999998</c:v>
                </c:pt>
                <c:pt idx="326" formatCode="0.00">
                  <c:v>2100.2164583333301</c:v>
                </c:pt>
                <c:pt idx="327" formatCode="0.00">
                  <c:v>2545.1474166666599</c:v>
                </c:pt>
                <c:pt idx="328" formatCode="0.00">
                  <c:v>2023.9495833333301</c:v>
                </c:pt>
                <c:pt idx="329" formatCode="0.00">
                  <c:v>2276.0501250000002</c:v>
                </c:pt>
                <c:pt idx="330" formatCode="0.00">
                  <c:v>1991.1601250000001</c:v>
                </c:pt>
                <c:pt idx="331" formatCode="0.00">
                  <c:v>2287.9387083333299</c:v>
                </c:pt>
                <c:pt idx="332" formatCode="0.00">
                  <c:v>1849.9232916666599</c:v>
                </c:pt>
                <c:pt idx="333" formatCode="0.00">
                  <c:v>2194.1292083333301</c:v>
                </c:pt>
                <c:pt idx="334" formatCode="0.00">
                  <c:v>1790.3879583333301</c:v>
                </c:pt>
                <c:pt idx="335" formatCode="0.00">
                  <c:v>2141.3363749999999</c:v>
                </c:pt>
                <c:pt idx="336" formatCode="0.00">
                  <c:v>2057.9334999999901</c:v>
                </c:pt>
                <c:pt idx="337" formatCode="0.00">
                  <c:v>2406.0681666666601</c:v>
                </c:pt>
                <c:pt idx="338" formatCode="0.00">
                  <c:v>2095.8654166666602</c:v>
                </c:pt>
                <c:pt idx="339" formatCode="0.00">
                  <c:v>2445.3009999999999</c:v>
                </c:pt>
                <c:pt idx="340" formatCode="0.00">
                  <c:v>2086.9225833333298</c:v>
                </c:pt>
                <c:pt idx="341" formatCode="0.00">
                  <c:v>2370.00979166666</c:v>
                </c:pt>
                <c:pt idx="342" formatCode="0.00">
                  <c:v>2085.0864166666602</c:v>
                </c:pt>
                <c:pt idx="343" formatCode="0.00">
                  <c:v>2395.16129166666</c:v>
                </c:pt>
                <c:pt idx="344" formatCode="0.00">
                  <c:v>2235.5886666666602</c:v>
                </c:pt>
                <c:pt idx="345" formatCode="0.00">
                  <c:v>2318.01045833333</c:v>
                </c:pt>
                <c:pt idx="346" formatCode="0.00">
                  <c:v>2014.8761875</c:v>
                </c:pt>
                <c:pt idx="347" formatCode="0.00">
                  <c:v>2078.2272499999999</c:v>
                </c:pt>
                <c:pt idx="348" formatCode="0.00">
                  <c:v>1914.3522</c:v>
                </c:pt>
                <c:pt idx="349" formatCode="0.00">
                  <c:v>2149.4061666666598</c:v>
                </c:pt>
                <c:pt idx="350" formatCode="0.00">
                  <c:v>1990.1363181818101</c:v>
                </c:pt>
                <c:pt idx="351" formatCode="0.00">
                  <c:v>2258.9283333333301</c:v>
                </c:pt>
                <c:pt idx="352" formatCode="0.00">
                  <c:v>1961.3875</c:v>
                </c:pt>
                <c:pt idx="353" formatCode="0.00">
                  <c:v>2335.6261249999998</c:v>
                </c:pt>
                <c:pt idx="354" formatCode="0.00">
                  <c:v>2000.8362916666599</c:v>
                </c:pt>
                <c:pt idx="355" formatCode="0.00">
                  <c:v>2338.0388749999902</c:v>
                </c:pt>
                <c:pt idx="356" formatCode="0.00">
                  <c:v>2019.33712499999</c:v>
                </c:pt>
                <c:pt idx="357" formatCode="0.00">
                  <c:v>2289.0407083333298</c:v>
                </c:pt>
                <c:pt idx="358" formatCode="0.00">
                  <c:v>1994.4352083333299</c:v>
                </c:pt>
                <c:pt idx="359" formatCode="0.00">
                  <c:v>2222.3777083333298</c:v>
                </c:pt>
                <c:pt idx="360" formatCode="0.00">
                  <c:v>1792.535625</c:v>
                </c:pt>
                <c:pt idx="361" formatCode="0.00">
                  <c:v>2035.47041666666</c:v>
                </c:pt>
                <c:pt idx="362" formatCode="0.00">
                  <c:v>1825.59381249999</c:v>
                </c:pt>
                <c:pt idx="363" formatCode="0.00">
                  <c:v>2076.4887916666598</c:v>
                </c:pt>
                <c:pt idx="364" formatCode="0.00">
                  <c:v>2384.7628749999999</c:v>
                </c:pt>
                <c:pt idx="365" formatCode="0.00">
                  <c:v>3175.5055000000002</c:v>
                </c:pt>
                <c:pt idx="366" formatCode="0.00">
                  <c:v>1879.307</c:v>
                </c:pt>
                <c:pt idx="367" formatCode="0.00">
                  <c:v>2233.8377500000001</c:v>
                </c:pt>
                <c:pt idx="368" formatCode="0.00">
                  <c:v>2098.0626499999998</c:v>
                </c:pt>
                <c:pt idx="369" formatCode="0.00">
                  <c:v>2477.5514583333302</c:v>
                </c:pt>
                <c:pt idx="370" formatCode="0.00">
                  <c:v>1810.3757499999999</c:v>
                </c:pt>
                <c:pt idx="371" formatCode="0.00">
                  <c:v>2138.3887916666599</c:v>
                </c:pt>
                <c:pt idx="372" formatCode="0.00">
                  <c:v>1767.7639999999999</c:v>
                </c:pt>
                <c:pt idx="373" formatCode="0.00">
                  <c:v>2166.1871000000001</c:v>
                </c:pt>
                <c:pt idx="374" formatCode="0.00">
                  <c:v>1971.0527499999901</c:v>
                </c:pt>
                <c:pt idx="375" formatCode="0.00">
                  <c:v>2203.1564166666599</c:v>
                </c:pt>
                <c:pt idx="376" formatCode="0.00">
                  <c:v>1859.2815416666599</c:v>
                </c:pt>
                <c:pt idx="377" formatCode="0.00">
                  <c:v>2249.0152916666598</c:v>
                </c:pt>
                <c:pt idx="378" formatCode="0.00">
                  <c:v>1922.1611249999901</c:v>
                </c:pt>
                <c:pt idx="379" formatCode="0.00">
                  <c:v>2221.432875</c:v>
                </c:pt>
                <c:pt idx="380" formatCode="0.00">
                  <c:v>1745.8321249999999</c:v>
                </c:pt>
                <c:pt idx="381" formatCode="0.00">
                  <c:v>2018.5865833333301</c:v>
                </c:pt>
                <c:pt idx="382" formatCode="0.00">
                  <c:v>1857.62129166666</c:v>
                </c:pt>
                <c:pt idx="383" formatCode="0.00">
                  <c:v>2091.5625416666599</c:v>
                </c:pt>
                <c:pt idx="384" formatCode="0.00">
                  <c:v>1880.002375</c:v>
                </c:pt>
                <c:pt idx="385" formatCode="0.00">
                  <c:v>2144.029</c:v>
                </c:pt>
                <c:pt idx="386" formatCode="0.00">
                  <c:v>1942.2773749999999</c:v>
                </c:pt>
                <c:pt idx="387" formatCode="0.00">
                  <c:v>2156.9050833333299</c:v>
                </c:pt>
                <c:pt idx="388" formatCode="0.00">
                  <c:v>1863.51966666666</c:v>
                </c:pt>
                <c:pt idx="389" formatCode="0.00">
                  <c:v>2113.2942083333301</c:v>
                </c:pt>
                <c:pt idx="390" formatCode="0.00">
                  <c:v>1727.4197916666601</c:v>
                </c:pt>
                <c:pt idx="391" formatCode="0.00">
                  <c:v>2095.5535</c:v>
                </c:pt>
                <c:pt idx="392" formatCode="0.00">
                  <c:v>1967.7181249999901</c:v>
                </c:pt>
                <c:pt idx="393" formatCode="0.00">
                  <c:v>2343.9105</c:v>
                </c:pt>
                <c:pt idx="394" formatCode="0.00">
                  <c:v>2027.19783333333</c:v>
                </c:pt>
                <c:pt idx="395" formatCode="0.00">
                  <c:v>2471.7156249999998</c:v>
                </c:pt>
                <c:pt idx="396" formatCode="0.00">
                  <c:v>2030.9194583333301</c:v>
                </c:pt>
                <c:pt idx="397" formatCode="0.00">
                  <c:v>2445.4532083333302</c:v>
                </c:pt>
                <c:pt idx="398" formatCode="0.00">
                  <c:v>2128.7746666666599</c:v>
                </c:pt>
                <c:pt idx="399" formatCode="0.00">
                  <c:v>2486.29025</c:v>
                </c:pt>
                <c:pt idx="400" formatCode="0.00">
                  <c:v>2153.5862499999998</c:v>
                </c:pt>
                <c:pt idx="401" formatCode="0.00">
                  <c:v>2445.9498749999998</c:v>
                </c:pt>
                <c:pt idx="402" formatCode="0.00">
                  <c:v>1976.4664166666601</c:v>
                </c:pt>
                <c:pt idx="403" formatCode="0.00">
                  <c:v>2273.79779166666</c:v>
                </c:pt>
                <c:pt idx="404" formatCode="0.00">
                  <c:v>1887.0905416666601</c:v>
                </c:pt>
                <c:pt idx="405" formatCode="0.00">
                  <c:v>2286.2764583333301</c:v>
                </c:pt>
                <c:pt idx="406" formatCode="0.00">
                  <c:v>2117.26695833333</c:v>
                </c:pt>
                <c:pt idx="407" formatCode="0.00">
                  <c:v>2382.9783333333298</c:v>
                </c:pt>
                <c:pt idx="408" formatCode="0.00">
                  <c:v>2141.53866666666</c:v>
                </c:pt>
                <c:pt idx="409" formatCode="0.00">
                  <c:v>2240.2341666666598</c:v>
                </c:pt>
                <c:pt idx="410" formatCode="0.00">
                  <c:v>1878.19175</c:v>
                </c:pt>
                <c:pt idx="411" formatCode="0.00">
                  <c:v>2191.5256250000002</c:v>
                </c:pt>
                <c:pt idx="412" formatCode="0.00">
                  <c:v>1887.7463749999899</c:v>
                </c:pt>
                <c:pt idx="413" formatCode="0.00">
                  <c:v>2213.9628333333299</c:v>
                </c:pt>
                <c:pt idx="414" formatCode="0.00">
                  <c:v>1996.06308333333</c:v>
                </c:pt>
                <c:pt idx="415" formatCode="0.00">
                  <c:v>2482.7692499999998</c:v>
                </c:pt>
                <c:pt idx="416" formatCode="0.00">
                  <c:v>1897.66616666666</c:v>
                </c:pt>
                <c:pt idx="417" formatCode="0.00">
                  <c:v>2206.1185</c:v>
                </c:pt>
                <c:pt idx="418" formatCode="0.00">
                  <c:v>1751.1030416666599</c:v>
                </c:pt>
                <c:pt idx="419" formatCode="0.00">
                  <c:v>2099.3076249999999</c:v>
                </c:pt>
                <c:pt idx="420" formatCode="0.00">
                  <c:v>2000.35366666666</c:v>
                </c:pt>
                <c:pt idx="421" formatCode="0.00">
                  <c:v>2385.5984999999901</c:v>
                </c:pt>
                <c:pt idx="422" formatCode="0.00">
                  <c:v>2051.9919583333299</c:v>
                </c:pt>
                <c:pt idx="423" formatCode="0.00">
                  <c:v>2307.1601249999999</c:v>
                </c:pt>
                <c:pt idx="424" formatCode="0.00">
                  <c:v>1992.06812499999</c:v>
                </c:pt>
                <c:pt idx="425" formatCode="0.00">
                  <c:v>2272.55004166666</c:v>
                </c:pt>
                <c:pt idx="426" formatCode="0.00">
                  <c:v>2619.6127499999998</c:v>
                </c:pt>
                <c:pt idx="427" formatCode="0.00">
                  <c:v>3135.2914166666601</c:v>
                </c:pt>
                <c:pt idx="428" formatCode="0.00">
                  <c:v>2020.72577777777</c:v>
                </c:pt>
                <c:pt idx="429" formatCode="0.00">
                  <c:v>2479.9036666666598</c:v>
                </c:pt>
                <c:pt idx="430" formatCode="0.00">
                  <c:v>2173.7058333333298</c:v>
                </c:pt>
                <c:pt idx="431" formatCode="0.00">
                  <c:v>2584.7835833333302</c:v>
                </c:pt>
                <c:pt idx="432" formatCode="0.00">
                  <c:v>2057.4659999999999</c:v>
                </c:pt>
                <c:pt idx="433" formatCode="0.00">
                  <c:v>2659.6397499999998</c:v>
                </c:pt>
                <c:pt idx="434" formatCode="0.00">
                  <c:v>1999.15021428571</c:v>
                </c:pt>
                <c:pt idx="435" formatCode="0.00">
                  <c:v>2072.13229166666</c:v>
                </c:pt>
                <c:pt idx="436" formatCode="0.00">
                  <c:v>1795.002125</c:v>
                </c:pt>
                <c:pt idx="437" formatCode="0.00">
                  <c:v>2046.49437499999</c:v>
                </c:pt>
                <c:pt idx="438" formatCode="0.00">
                  <c:v>2152.0723750000002</c:v>
                </c:pt>
                <c:pt idx="439" formatCode="0.00">
                  <c:v>2471.3907916666599</c:v>
                </c:pt>
                <c:pt idx="440" formatCode="0.00">
                  <c:v>1920.2779583333299</c:v>
                </c:pt>
                <c:pt idx="441" formatCode="0.00">
                  <c:v>2274.8648333333299</c:v>
                </c:pt>
                <c:pt idx="442" formatCode="0.00">
                  <c:v>1595.4885833333301</c:v>
                </c:pt>
                <c:pt idx="443" formatCode="0.00">
                  <c:v>1906.04541666666</c:v>
                </c:pt>
                <c:pt idx="444" formatCode="0.00">
                  <c:v>1899.76866666666</c:v>
                </c:pt>
                <c:pt idx="445" formatCode="0.00">
                  <c:v>2168.54474999999</c:v>
                </c:pt>
                <c:pt idx="446" formatCode="0.00">
                  <c:v>1893.92883333333</c:v>
                </c:pt>
                <c:pt idx="447" formatCode="0.00">
                  <c:v>2163.90545833333</c:v>
                </c:pt>
                <c:pt idx="448" formatCode="0.00">
                  <c:v>1709.3747499999999</c:v>
                </c:pt>
                <c:pt idx="449" formatCode="0.00">
                  <c:v>1969.1160833333299</c:v>
                </c:pt>
                <c:pt idx="450" formatCode="0.00">
                  <c:v>1981.62925</c:v>
                </c:pt>
                <c:pt idx="451" formatCode="0.00">
                  <c:v>2265.6325000000002</c:v>
                </c:pt>
                <c:pt idx="452" formatCode="0.00">
                  <c:v>2017.8668333333301</c:v>
                </c:pt>
                <c:pt idx="453" formatCode="0.00">
                  <c:v>2272.4112083333298</c:v>
                </c:pt>
                <c:pt idx="454" formatCode="0.00">
                  <c:v>1957.98008333333</c:v>
                </c:pt>
                <c:pt idx="455" formatCode="0.00">
                  <c:v>2410.05508333333</c:v>
                </c:pt>
                <c:pt idx="456" formatCode="0.00">
                  <c:v>2061.5842499999899</c:v>
                </c:pt>
                <c:pt idx="457" formatCode="0.00">
                  <c:v>2334.3259166666599</c:v>
                </c:pt>
                <c:pt idx="458" formatCode="0.00">
                  <c:v>1791.68908333333</c:v>
                </c:pt>
                <c:pt idx="459" formatCode="0.00">
                  <c:v>2115.05070833333</c:v>
                </c:pt>
                <c:pt idx="460" formatCode="0.00">
                  <c:v>1725.1356249999999</c:v>
                </c:pt>
                <c:pt idx="461" formatCode="0.00">
                  <c:v>2079.96133333333</c:v>
                </c:pt>
                <c:pt idx="462" formatCode="0.00">
                  <c:v>1869.9213749999999</c:v>
                </c:pt>
                <c:pt idx="463" formatCode="0.00">
                  <c:v>2151.5065416666598</c:v>
                </c:pt>
                <c:pt idx="464" formatCode="0.00">
                  <c:v>2009.3411249999999</c:v>
                </c:pt>
                <c:pt idx="465" formatCode="0.00">
                  <c:v>2258.4755416666599</c:v>
                </c:pt>
                <c:pt idx="466" formatCode="0.00">
                  <c:v>1953.2787083333301</c:v>
                </c:pt>
                <c:pt idx="467" formatCode="0.00">
                  <c:v>2179.1737083333301</c:v>
                </c:pt>
                <c:pt idx="468" formatCode="0.00">
                  <c:v>2002.07149999999</c:v>
                </c:pt>
                <c:pt idx="469" formatCode="0.00">
                  <c:v>2190.5812083333299</c:v>
                </c:pt>
                <c:pt idx="470" formatCode="0.00">
                  <c:v>2238.6494166666598</c:v>
                </c:pt>
                <c:pt idx="471" formatCode="0.00">
                  <c:v>2101.758875</c:v>
                </c:pt>
                <c:pt idx="472" formatCode="0.00">
                  <c:v>1744.8411249999899</c:v>
                </c:pt>
                <c:pt idx="473" formatCode="0.00">
                  <c:v>1955.6636249999999</c:v>
                </c:pt>
                <c:pt idx="474" formatCode="0.00">
                  <c:v>1709.34116666666</c:v>
                </c:pt>
                <c:pt idx="475" formatCode="0.00">
                  <c:v>2090.6051666666599</c:v>
                </c:pt>
                <c:pt idx="476" formatCode="0.00">
                  <c:v>1930.23291666666</c:v>
                </c:pt>
                <c:pt idx="477" formatCode="0.00">
                  <c:v>2252.1495416666598</c:v>
                </c:pt>
                <c:pt idx="478" formatCode="0.00">
                  <c:v>2025.5564999999999</c:v>
                </c:pt>
                <c:pt idx="479" formatCode="0.00">
                  <c:v>2431.169875</c:v>
                </c:pt>
                <c:pt idx="480" formatCode="0.00">
                  <c:v>1985.1439583333299</c:v>
                </c:pt>
                <c:pt idx="481" formatCode="0.00">
                  <c:v>2232.0480416666601</c:v>
                </c:pt>
                <c:pt idx="482" formatCode="0.00">
                  <c:v>2000.4889166666601</c:v>
                </c:pt>
                <c:pt idx="483" formatCode="0.00">
                  <c:v>2244.6094583333302</c:v>
                </c:pt>
                <c:pt idx="484" formatCode="0.00">
                  <c:v>1956.4982499999901</c:v>
                </c:pt>
                <c:pt idx="485" formatCode="0.00">
                  <c:v>2234.6941666666598</c:v>
                </c:pt>
                <c:pt idx="486" formatCode="0.00">
                  <c:v>1764.0211666666601</c:v>
                </c:pt>
                <c:pt idx="487" formatCode="0.00">
                  <c:v>1984.9037083333301</c:v>
                </c:pt>
                <c:pt idx="488" formatCode="0.00">
                  <c:v>2259.3434166666598</c:v>
                </c:pt>
                <c:pt idx="489" formatCode="0.00">
                  <c:v>2360.6292916666598</c:v>
                </c:pt>
                <c:pt idx="490" formatCode="0.00">
                  <c:v>1846.40777272727</c:v>
                </c:pt>
                <c:pt idx="491" formatCode="0.00">
                  <c:v>2621.3647499999902</c:v>
                </c:pt>
                <c:pt idx="492" formatCode="0.00">
                  <c:v>1922.99563636363</c:v>
                </c:pt>
                <c:pt idx="493" formatCode="0.00">
                  <c:v>2474.1590833333298</c:v>
                </c:pt>
                <c:pt idx="494" formatCode="0.00">
                  <c:v>2056.328</c:v>
                </c:pt>
                <c:pt idx="495" formatCode="0.00">
                  <c:v>2567.8376250000001</c:v>
                </c:pt>
                <c:pt idx="496" formatCode="0.00">
                  <c:v>2030.3805833333299</c:v>
                </c:pt>
                <c:pt idx="497" formatCode="0.00">
                  <c:v>2019.70716666666</c:v>
                </c:pt>
                <c:pt idx="498" formatCode="0.00">
                  <c:v>1680.81474999999</c:v>
                </c:pt>
                <c:pt idx="499" formatCode="0.00">
                  <c:v>2067.74695833333</c:v>
                </c:pt>
                <c:pt idx="500" formatCode="0.00">
                  <c:v>2076.187375</c:v>
                </c:pt>
                <c:pt idx="501" formatCode="0.00">
                  <c:v>2497.8737916666601</c:v>
                </c:pt>
                <c:pt idx="502" formatCode="0.00">
                  <c:v>1934.8973333333299</c:v>
                </c:pt>
                <c:pt idx="503" formatCode="0.00">
                  <c:v>2169.9367916666602</c:v>
                </c:pt>
                <c:pt idx="504" formatCode="0.00">
                  <c:v>1909.34512499999</c:v>
                </c:pt>
                <c:pt idx="505" formatCode="0.00">
                  <c:v>2149.7494166666602</c:v>
                </c:pt>
                <c:pt idx="506" formatCode="0.00">
                  <c:v>1873.6608333333299</c:v>
                </c:pt>
                <c:pt idx="507" formatCode="0.00">
                  <c:v>2116.88016666666</c:v>
                </c:pt>
                <c:pt idx="508" formatCode="0.00">
                  <c:v>1699.7154166666601</c:v>
                </c:pt>
                <c:pt idx="509" formatCode="0.00">
                  <c:v>2109.2648749999998</c:v>
                </c:pt>
                <c:pt idx="510" formatCode="0.00">
                  <c:v>1848.3395416666599</c:v>
                </c:pt>
                <c:pt idx="511" formatCode="0.00">
                  <c:v>2107.09733333333</c:v>
                </c:pt>
                <c:pt idx="512" formatCode="0.00">
                  <c:v>2006.9661249999999</c:v>
                </c:pt>
                <c:pt idx="513" formatCode="0.00">
                  <c:v>2248.7629999999999</c:v>
                </c:pt>
                <c:pt idx="514" formatCode="0.00">
                  <c:v>1784.0219999999999</c:v>
                </c:pt>
                <c:pt idx="515" formatCode="0.00">
                  <c:v>2240.7224999999999</c:v>
                </c:pt>
                <c:pt idx="516" formatCode="0.00">
                  <c:v>1836.4853333333299</c:v>
                </c:pt>
                <c:pt idx="517" formatCode="0.00">
                  <c:v>2042.4563333333299</c:v>
                </c:pt>
                <c:pt idx="518" formatCode="0.00">
                  <c:v>2023.1317916666601</c:v>
                </c:pt>
                <c:pt idx="519" formatCode="0.00">
                  <c:v>2365.6989999999901</c:v>
                </c:pt>
                <c:pt idx="520" formatCode="0.00">
                  <c:v>2014.6587499999901</c:v>
                </c:pt>
                <c:pt idx="521" formatCode="0.00">
                  <c:v>2307.1498749999901</c:v>
                </c:pt>
                <c:pt idx="522" formatCode="0.00">
                  <c:v>2004.1671249999999</c:v>
                </c:pt>
                <c:pt idx="523" formatCode="0.00">
                  <c:v>2271.43324999999</c:v>
                </c:pt>
                <c:pt idx="524" formatCode="0.00">
                  <c:v>1920.9021250000001</c:v>
                </c:pt>
                <c:pt idx="525" formatCode="0.00">
                  <c:v>2218.1039999999998</c:v>
                </c:pt>
                <c:pt idx="526" formatCode="0.00">
                  <c:v>1970.1035833333301</c:v>
                </c:pt>
                <c:pt idx="527" formatCode="0.00">
                  <c:v>2213.6470416666598</c:v>
                </c:pt>
                <c:pt idx="528" formatCode="0.00">
                  <c:v>1732.7019583333299</c:v>
                </c:pt>
                <c:pt idx="529" formatCode="0.00">
                  <c:v>1933.2025000000001</c:v>
                </c:pt>
                <c:pt idx="530" formatCode="0.00">
                  <c:v>1784.0386999999901</c:v>
                </c:pt>
                <c:pt idx="531" formatCode="0.00">
                  <c:v>2104.9902499999998</c:v>
                </c:pt>
                <c:pt idx="532" formatCode="0.00">
                  <c:v>1969.7938125000001</c:v>
                </c:pt>
                <c:pt idx="533" formatCode="0.00">
                  <c:v>2124.48358333333</c:v>
                </c:pt>
                <c:pt idx="534" formatCode="0.00">
                  <c:v>1837.43941666666</c:v>
                </c:pt>
                <c:pt idx="535" formatCode="0.00">
                  <c:v>2198.0576249999999</c:v>
                </c:pt>
                <c:pt idx="536" formatCode="0.00">
                  <c:v>1935.0042083333301</c:v>
                </c:pt>
                <c:pt idx="537" formatCode="0.00">
                  <c:v>2156.9343749999998</c:v>
                </c:pt>
                <c:pt idx="538" formatCode="0.00">
                  <c:v>1926.1875</c:v>
                </c:pt>
                <c:pt idx="539" formatCode="0.00">
                  <c:v>2214.9516250000001</c:v>
                </c:pt>
                <c:pt idx="540" formatCode="0.00">
                  <c:v>1951.0851250000001</c:v>
                </c:pt>
                <c:pt idx="541" formatCode="0.00">
                  <c:v>2127.3627916666601</c:v>
                </c:pt>
                <c:pt idx="542" formatCode="0.00">
                  <c:v>1725.21108333333</c:v>
                </c:pt>
                <c:pt idx="543" formatCode="0.00">
                  <c:v>1899.99741666666</c:v>
                </c:pt>
                <c:pt idx="544" formatCode="0.00">
                  <c:v>1602.6900416666599</c:v>
                </c:pt>
                <c:pt idx="545" formatCode="0.00">
                  <c:v>1989.90491666666</c:v>
                </c:pt>
                <c:pt idx="546" formatCode="0.00">
                  <c:v>1684.1917083333301</c:v>
                </c:pt>
                <c:pt idx="547" formatCode="0.00">
                  <c:v>1953.3324583333299</c:v>
                </c:pt>
                <c:pt idx="548" formatCode="0.00">
                  <c:v>2007.6444999999901</c:v>
                </c:pt>
                <c:pt idx="549" formatCode="0.00">
                  <c:v>2220.78666666666</c:v>
                </c:pt>
                <c:pt idx="550" formatCode="0.00">
                  <c:v>1886.12816666666</c:v>
                </c:pt>
                <c:pt idx="551" formatCode="0.00">
                  <c:v>2790.45141666666</c:v>
                </c:pt>
                <c:pt idx="552" formatCode="0.00">
                  <c:v>1962.5399583333301</c:v>
                </c:pt>
                <c:pt idx="553" formatCode="0.00">
                  <c:v>2332.38454166666</c:v>
                </c:pt>
                <c:pt idx="554" formatCode="0.00">
                  <c:v>2132.88175</c:v>
                </c:pt>
                <c:pt idx="555" formatCode="0.00">
                  <c:v>2626.2460416666599</c:v>
                </c:pt>
                <c:pt idx="556" formatCode="0.00">
                  <c:v>2052.8806666666601</c:v>
                </c:pt>
                <c:pt idx="557" formatCode="0.00">
                  <c:v>1989.07779166666</c:v>
                </c:pt>
                <c:pt idx="558" formatCode="0.00">
                  <c:v>1942.3025416666601</c:v>
                </c:pt>
                <c:pt idx="559" formatCode="0.00">
                  <c:v>2247.8567916666598</c:v>
                </c:pt>
                <c:pt idx="560" formatCode="0.00">
                  <c:v>2029.9478749999901</c:v>
                </c:pt>
                <c:pt idx="561" formatCode="0.00">
                  <c:v>2304.0392916666601</c:v>
                </c:pt>
                <c:pt idx="562" formatCode="0.00">
                  <c:v>1755.5350416666599</c:v>
                </c:pt>
                <c:pt idx="563" formatCode="0.00">
                  <c:v>2048.3871666666601</c:v>
                </c:pt>
                <c:pt idx="564" formatCode="0.00">
                  <c:v>1943.12725</c:v>
                </c:pt>
                <c:pt idx="565" formatCode="0.00">
                  <c:v>2243.9492500000001</c:v>
                </c:pt>
                <c:pt idx="566" formatCode="0.00">
                  <c:v>1881.1257083333301</c:v>
                </c:pt>
                <c:pt idx="567" formatCode="0.00">
                  <c:v>2096.1401249999999</c:v>
                </c:pt>
                <c:pt idx="568" formatCode="0.00">
                  <c:v>1722.9338333333301</c:v>
                </c:pt>
                <c:pt idx="569" formatCode="0.00">
                  <c:v>2293.70854166666</c:v>
                </c:pt>
                <c:pt idx="570" formatCode="0.00">
                  <c:v>1850.04408333333</c:v>
                </c:pt>
                <c:pt idx="571" formatCode="0.00">
                  <c:v>2374.0641666666602</c:v>
                </c:pt>
                <c:pt idx="572" formatCode="0.00">
                  <c:v>1611.22</c:v>
                </c:pt>
                <c:pt idx="573" formatCode="0.00">
                  <c:v>1846.55791666666</c:v>
                </c:pt>
                <c:pt idx="574" formatCode="0.00">
                  <c:v>1799.310375</c:v>
                </c:pt>
                <c:pt idx="575" formatCode="0.00">
                  <c:v>2070.2994583333302</c:v>
                </c:pt>
                <c:pt idx="576" formatCode="0.00">
                  <c:v>1832.39116666666</c:v>
                </c:pt>
                <c:pt idx="577" formatCode="0.00">
                  <c:v>2099.4979583333302</c:v>
                </c:pt>
                <c:pt idx="578" formatCode="0.00">
                  <c:v>1845.81924999999</c:v>
                </c:pt>
                <c:pt idx="579" formatCode="0.00">
                  <c:v>2042.6991666666599</c:v>
                </c:pt>
                <c:pt idx="580" formatCode="0.00">
                  <c:v>1838.79779166666</c:v>
                </c:pt>
                <c:pt idx="581" formatCode="0.00">
                  <c:v>2088.8355833333299</c:v>
                </c:pt>
                <c:pt idx="582" formatCode="0.00">
                  <c:v>1883.367125</c:v>
                </c:pt>
                <c:pt idx="583" formatCode="0.00">
                  <c:v>2092.3713333333299</c:v>
                </c:pt>
                <c:pt idx="584" formatCode="0.00">
                  <c:v>1741.1714999999999</c:v>
                </c:pt>
                <c:pt idx="585" formatCode="0.00">
                  <c:v>2051.60645833333</c:v>
                </c:pt>
                <c:pt idx="586" formatCode="0.00">
                  <c:v>1642.1816249999999</c:v>
                </c:pt>
                <c:pt idx="587" formatCode="0.00">
                  <c:v>1924.9824166666599</c:v>
                </c:pt>
                <c:pt idx="588" formatCode="0.00">
                  <c:v>1831.9275833333299</c:v>
                </c:pt>
                <c:pt idx="589" formatCode="0.00">
                  <c:v>2062.1536249999999</c:v>
                </c:pt>
                <c:pt idx="590" formatCode="0.00">
                  <c:v>1844.1833750000001</c:v>
                </c:pt>
                <c:pt idx="591" formatCode="0.00">
                  <c:v>2069.80945833333</c:v>
                </c:pt>
                <c:pt idx="592" formatCode="0.00">
                  <c:v>1826.20020833333</c:v>
                </c:pt>
                <c:pt idx="593" formatCode="0.00">
                  <c:v>2041.8861666666601</c:v>
                </c:pt>
                <c:pt idx="594" formatCode="0.00">
                  <c:v>1819.0770833333299</c:v>
                </c:pt>
                <c:pt idx="595" formatCode="0.00">
                  <c:v>2089.3340416666601</c:v>
                </c:pt>
                <c:pt idx="596" formatCode="0.00">
                  <c:v>1807.22899999999</c:v>
                </c:pt>
                <c:pt idx="597" formatCode="0.00">
                  <c:v>2062.937625</c:v>
                </c:pt>
                <c:pt idx="598" formatCode="0.00">
                  <c:v>1688.17129166666</c:v>
                </c:pt>
                <c:pt idx="599" formatCode="0.00">
                  <c:v>1882.3611249999999</c:v>
                </c:pt>
                <c:pt idx="600" formatCode="0.00">
                  <c:v>1591.99795833333</c:v>
                </c:pt>
                <c:pt idx="601" formatCode="0.00">
                  <c:v>1926.1012499999999</c:v>
                </c:pt>
                <c:pt idx="602" formatCode="0.00">
                  <c:v>1874.9264166666601</c:v>
                </c:pt>
                <c:pt idx="603" formatCode="0.00">
                  <c:v>2207.3483333333302</c:v>
                </c:pt>
                <c:pt idx="604" formatCode="0.00">
                  <c:v>1911.4361249999999</c:v>
                </c:pt>
                <c:pt idx="605" formatCode="0.00">
                  <c:v>2309.9924166666601</c:v>
                </c:pt>
                <c:pt idx="606" formatCode="0.00">
                  <c:v>1934.6754166666601</c:v>
                </c:pt>
                <c:pt idx="607" formatCode="0.00">
                  <c:v>2446.9752916666598</c:v>
                </c:pt>
                <c:pt idx="608" formatCode="0.00">
                  <c:v>1950.0437916666599</c:v>
                </c:pt>
                <c:pt idx="609" formatCode="0.00">
                  <c:v>2245.5435833333299</c:v>
                </c:pt>
                <c:pt idx="610" formatCode="0.00">
                  <c:v>2055.8892500000002</c:v>
                </c:pt>
                <c:pt idx="611" formatCode="0.00">
                  <c:v>2244.6372500000002</c:v>
                </c:pt>
                <c:pt idx="612" formatCode="0.00">
                  <c:v>2363.6295416666599</c:v>
                </c:pt>
                <c:pt idx="613" formatCode="0.00">
                  <c:v>3211.5232499999902</c:v>
                </c:pt>
                <c:pt idx="614" formatCode="0.00">
                  <c:v>2147.2688333333299</c:v>
                </c:pt>
                <c:pt idx="615" formatCode="0.00">
                  <c:v>2340.14141666666</c:v>
                </c:pt>
                <c:pt idx="616" formatCode="0.00">
                  <c:v>2180.6801249999999</c:v>
                </c:pt>
                <c:pt idx="617" formatCode="0.00">
                  <c:v>2606.2606666666602</c:v>
                </c:pt>
                <c:pt idx="618" formatCode="0.00">
                  <c:v>1593.28204166666</c:v>
                </c:pt>
                <c:pt idx="619" formatCode="0.00">
                  <c:v>1816.4230833333299</c:v>
                </c:pt>
                <c:pt idx="620" formatCode="0.00">
                  <c:v>2012.89008333333</c:v>
                </c:pt>
                <c:pt idx="621" formatCode="0.00">
                  <c:v>2323.33687499999</c:v>
                </c:pt>
                <c:pt idx="622" formatCode="0.00">
                  <c:v>2038.519125</c:v>
                </c:pt>
                <c:pt idx="623" formatCode="0.00">
                  <c:v>2540.8084583333298</c:v>
                </c:pt>
                <c:pt idx="624" formatCode="0.00">
                  <c:v>1708.6217083333299</c:v>
                </c:pt>
                <c:pt idx="625" formatCode="0.00">
                  <c:v>2016.7689583333299</c:v>
                </c:pt>
                <c:pt idx="626" formatCode="0.00">
                  <c:v>1949.9066250000001</c:v>
                </c:pt>
                <c:pt idx="627" formatCode="0.00">
                  <c:v>2290.6012500000002</c:v>
                </c:pt>
                <c:pt idx="628" formatCode="0.00">
                  <c:v>1880.72729166666</c:v>
                </c:pt>
                <c:pt idx="629" formatCode="0.00">
                  <c:v>2154.9060416666598</c:v>
                </c:pt>
                <c:pt idx="630" formatCode="0.00">
                  <c:v>1956.88375</c:v>
                </c:pt>
                <c:pt idx="631" formatCode="0.00">
                  <c:v>2342.821625</c:v>
                </c:pt>
                <c:pt idx="632" formatCode="0.00">
                  <c:v>2046.5167083333299</c:v>
                </c:pt>
                <c:pt idx="633" formatCode="0.00">
                  <c:v>2574.9333750000001</c:v>
                </c:pt>
                <c:pt idx="634" formatCode="0.00">
                  <c:v>1838.4179166666599</c:v>
                </c:pt>
                <c:pt idx="635" formatCode="0.00">
                  <c:v>2156.3199583333299</c:v>
                </c:pt>
                <c:pt idx="636" formatCode="0.00">
                  <c:v>1879.3218749999901</c:v>
                </c:pt>
                <c:pt idx="637" formatCode="0.00">
                  <c:v>2407.2310416666601</c:v>
                </c:pt>
                <c:pt idx="638" formatCode="0.00">
                  <c:v>1984.76958333333</c:v>
                </c:pt>
                <c:pt idx="639" formatCode="0.00">
                  <c:v>2474.5342083333298</c:v>
                </c:pt>
                <c:pt idx="640" formatCode="0.00">
                  <c:v>1896.93095833333</c:v>
                </c:pt>
                <c:pt idx="641" formatCode="0.00">
                  <c:v>2473.4072916666601</c:v>
                </c:pt>
                <c:pt idx="642" formatCode="0.00">
                  <c:v>1830.4516249999999</c:v>
                </c:pt>
                <c:pt idx="643" formatCode="0.00">
                  <c:v>2146.0133333333301</c:v>
                </c:pt>
                <c:pt idx="644" formatCode="0.00">
                  <c:v>1967.22974999999</c:v>
                </c:pt>
                <c:pt idx="645" formatCode="0.00">
                  <c:v>2182.4940000000001</c:v>
                </c:pt>
                <c:pt idx="646" formatCode="0.00">
                  <c:v>1929.8937777777701</c:v>
                </c:pt>
                <c:pt idx="647" formatCode="0.00">
                  <c:v>2045.6363636363601</c:v>
                </c:pt>
                <c:pt idx="648" formatCode="0.00">
                  <c:v>1880.0908571428499</c:v>
                </c:pt>
                <c:pt idx="649" formatCode="0.00">
                  <c:v>2085.9897500000002</c:v>
                </c:pt>
                <c:pt idx="650" formatCode="0.00">
                  <c:v>2014.6393125</c:v>
                </c:pt>
                <c:pt idx="651" formatCode="0.00">
                  <c:v>2325.59958333333</c:v>
                </c:pt>
                <c:pt idx="652" formatCode="0.00">
                  <c:v>1960.05679166666</c:v>
                </c:pt>
                <c:pt idx="653" formatCode="0.00">
                  <c:v>2341.8746666666598</c:v>
                </c:pt>
                <c:pt idx="654" formatCode="0.00">
                  <c:v>1722.6105</c:v>
                </c:pt>
                <c:pt idx="655" formatCode="0.00">
                  <c:v>2026.1913750000001</c:v>
                </c:pt>
                <c:pt idx="656" formatCode="0.00">
                  <c:v>1621.5212916666601</c:v>
                </c:pt>
                <c:pt idx="657" formatCode="0.00">
                  <c:v>1833.5901249999999</c:v>
                </c:pt>
                <c:pt idx="658" formatCode="0.00">
                  <c:v>1763.4928749999999</c:v>
                </c:pt>
                <c:pt idx="659" formatCode="0.00">
                  <c:v>2059.60249999999</c:v>
                </c:pt>
                <c:pt idx="660" formatCode="0.00">
                  <c:v>1995.29342857142</c:v>
                </c:pt>
                <c:pt idx="661" formatCode="0.00">
                  <c:v>2089.6785416666598</c:v>
                </c:pt>
                <c:pt idx="662" formatCode="0.00">
                  <c:v>1968.56105555555</c:v>
                </c:pt>
                <c:pt idx="663" formatCode="0.00">
                  <c:v>2332.91908333333</c:v>
                </c:pt>
                <c:pt idx="664" formatCode="0.00">
                  <c:v>2027.29349999999</c:v>
                </c:pt>
                <c:pt idx="665" formatCode="0.00">
                  <c:v>2408.9666666666599</c:v>
                </c:pt>
                <c:pt idx="666" formatCode="0.00">
                  <c:v>2020.8008749999999</c:v>
                </c:pt>
                <c:pt idx="667" formatCode="0.00">
                  <c:v>2143.7741666666602</c:v>
                </c:pt>
                <c:pt idx="668" formatCode="0.00">
                  <c:v>1733.66625</c:v>
                </c:pt>
                <c:pt idx="669" formatCode="0.00">
                  <c:v>1938.42895833333</c:v>
                </c:pt>
                <c:pt idx="670" formatCode="0.00">
                  <c:v>1811.3492083333299</c:v>
                </c:pt>
                <c:pt idx="671" formatCode="0.00">
                  <c:v>2407.5522083333299</c:v>
                </c:pt>
                <c:pt idx="672" formatCode="0.00">
                  <c:v>2557.52991666666</c:v>
                </c:pt>
                <c:pt idx="673" formatCode="0.00">
                  <c:v>3343.2067916666601</c:v>
                </c:pt>
                <c:pt idx="674" formatCode="0.00">
                  <c:v>1855.5550416666599</c:v>
                </c:pt>
                <c:pt idx="675" formatCode="0.00">
                  <c:v>2107.1355416666602</c:v>
                </c:pt>
                <c:pt idx="676" formatCode="0.00">
                  <c:v>2148.7616249999901</c:v>
                </c:pt>
                <c:pt idx="677" formatCode="0.00">
                  <c:v>2362.4044583333298</c:v>
                </c:pt>
                <c:pt idx="678" formatCode="0.00">
                  <c:v>1645.9032999999999</c:v>
                </c:pt>
                <c:pt idx="679" formatCode="0.00">
                  <c:v>1852.95022727272</c:v>
                </c:pt>
                <c:pt idx="680" formatCode="0.00">
                  <c:v>2100.8144499999999</c:v>
                </c:pt>
                <c:pt idx="681" formatCode="0.00">
                  <c:v>2257.8534999999902</c:v>
                </c:pt>
                <c:pt idx="682" formatCode="0.00">
                  <c:v>2056.5866249999999</c:v>
                </c:pt>
                <c:pt idx="683" formatCode="0.00">
                  <c:v>2275.6061666666601</c:v>
                </c:pt>
                <c:pt idx="684" formatCode="0.00">
                  <c:v>1961.3328750000001</c:v>
                </c:pt>
                <c:pt idx="685" formatCode="0.00">
                  <c:v>2277.7167083333302</c:v>
                </c:pt>
                <c:pt idx="686" formatCode="0.00">
                  <c:v>1943.82499999999</c:v>
                </c:pt>
                <c:pt idx="687" formatCode="0.00">
                  <c:v>2235.0515416666599</c:v>
                </c:pt>
                <c:pt idx="688" formatCode="0.00">
                  <c:v>1723.949625</c:v>
                </c:pt>
                <c:pt idx="689" formatCode="0.00">
                  <c:v>1901.2469166666599</c:v>
                </c:pt>
                <c:pt idx="690" formatCode="0.00">
                  <c:v>1893.2130833333299</c:v>
                </c:pt>
                <c:pt idx="691" formatCode="0.00">
                  <c:v>2235.2352083333299</c:v>
                </c:pt>
                <c:pt idx="692" formatCode="0.00">
                  <c:v>2172.7842083333298</c:v>
                </c:pt>
                <c:pt idx="693" formatCode="0.00">
                  <c:v>2876.3842499999901</c:v>
                </c:pt>
                <c:pt idx="694" formatCode="0.00">
                  <c:v>2270.6802499999999</c:v>
                </c:pt>
                <c:pt idx="695" formatCode="0.00">
                  <c:v>3024.1334583333301</c:v>
                </c:pt>
                <c:pt idx="696" formatCode="0.00">
                  <c:v>2140.97379166666</c:v>
                </c:pt>
                <c:pt idx="697" formatCode="0.00">
                  <c:v>2883.3863333333302</c:v>
                </c:pt>
                <c:pt idx="698" formatCode="0.00">
                  <c:v>2117.8012916666598</c:v>
                </c:pt>
                <c:pt idx="699" formatCode="0.00">
                  <c:v>2926.3967916666602</c:v>
                </c:pt>
                <c:pt idx="700" formatCode="0.00">
                  <c:v>2367.2226249999999</c:v>
                </c:pt>
                <c:pt idx="701" formatCode="0.00">
                  <c:v>3195.3001250000002</c:v>
                </c:pt>
                <c:pt idx="702" formatCode="0.00">
                  <c:v>2338.9344166666601</c:v>
                </c:pt>
                <c:pt idx="703" formatCode="0.00">
                  <c:v>2643.5017916666602</c:v>
                </c:pt>
                <c:pt idx="704" formatCode="0.00">
                  <c:v>2096.2074166666598</c:v>
                </c:pt>
                <c:pt idx="705" formatCode="0.00">
                  <c:v>2410.1449583333301</c:v>
                </c:pt>
                <c:pt idx="706" formatCode="0.00">
                  <c:v>2059.38004166666</c:v>
                </c:pt>
                <c:pt idx="707" formatCode="0.00">
                  <c:v>2394.1077500000001</c:v>
                </c:pt>
                <c:pt idx="708" formatCode="0.00">
                  <c:v>1972.1649583333301</c:v>
                </c:pt>
                <c:pt idx="709" formatCode="0.00">
                  <c:v>2230.0864999999999</c:v>
                </c:pt>
                <c:pt idx="710" formatCode="0.00">
                  <c:v>1787.87870833333</c:v>
                </c:pt>
                <c:pt idx="711" formatCode="0.00">
                  <c:v>1997.3041250000001</c:v>
                </c:pt>
                <c:pt idx="712" formatCode="0.00">
                  <c:v>1729.9509166666601</c:v>
                </c:pt>
                <c:pt idx="713" formatCode="0.00">
                  <c:v>2047.0395000000001</c:v>
                </c:pt>
                <c:pt idx="714" formatCode="0.00">
                  <c:v>1953.6437083333301</c:v>
                </c:pt>
                <c:pt idx="715" formatCode="0.00">
                  <c:v>2451.7428749999999</c:v>
                </c:pt>
                <c:pt idx="716" formatCode="0.00">
                  <c:v>1992.5728749999901</c:v>
                </c:pt>
                <c:pt idx="717" formatCode="0.00">
                  <c:v>2288.7292499999999</c:v>
                </c:pt>
                <c:pt idx="718" formatCode="0.00">
                  <c:v>1741.06274999999</c:v>
                </c:pt>
                <c:pt idx="719" formatCode="0.00">
                  <c:v>1948.48549999999</c:v>
                </c:pt>
                <c:pt idx="720" formatCode="0.00">
                  <c:v>1686.002375</c:v>
                </c:pt>
                <c:pt idx="721" formatCode="0.00">
                  <c:v>2049.07045833333</c:v>
                </c:pt>
                <c:pt idx="722" formatCode="0.00">
                  <c:v>1898.9733333333299</c:v>
                </c:pt>
                <c:pt idx="723" formatCode="0.00">
                  <c:v>2160.0101249999998</c:v>
                </c:pt>
                <c:pt idx="724" formatCode="0.00">
                  <c:v>1749.8718636363601</c:v>
                </c:pt>
                <c:pt idx="725" formatCode="0.00">
                  <c:v>2125.4543749999998</c:v>
                </c:pt>
                <c:pt idx="726" formatCode="0.00">
                  <c:v>1779.80779166666</c:v>
                </c:pt>
                <c:pt idx="727" formatCode="0.00">
                  <c:v>2286.2164166666598</c:v>
                </c:pt>
                <c:pt idx="728" formatCode="0.00">
                  <c:v>1982.47729166666</c:v>
                </c:pt>
                <c:pt idx="729" formatCode="0.00">
                  <c:v>2385.11704166666</c:v>
                </c:pt>
                <c:pt idx="730" formatCode="0.00">
                  <c:v>1959.6472916666601</c:v>
                </c:pt>
                <c:pt idx="731" formatCode="0.00">
                  <c:v>2134.0819999999999</c:v>
                </c:pt>
                <c:pt idx="732" formatCode="0.00">
                  <c:v>2814.7105606124901</c:v>
                </c:pt>
                <c:pt idx="733" formatCode="0.00">
                  <c:v>2820.15931286666</c:v>
                </c:pt>
                <c:pt idx="734" formatCode="0.00">
                  <c:v>2147.3532233291598</c:v>
                </c:pt>
                <c:pt idx="735" formatCode="0.00">
                  <c:v>2545.3108069374898</c:v>
                </c:pt>
                <c:pt idx="736" formatCode="0.00">
                  <c:v>2222.4136193208301</c:v>
                </c:pt>
                <c:pt idx="737" formatCode="0.00">
                  <c:v>2257.3158007708298</c:v>
                </c:pt>
                <c:pt idx="738" formatCode="0.00">
                  <c:v>2032.198344465</c:v>
                </c:pt>
                <c:pt idx="739" formatCode="0.00">
                  <c:v>2117.8163037374902</c:v>
                </c:pt>
                <c:pt idx="740" formatCode="0.00">
                  <c:v>1881.9500175666601</c:v>
                </c:pt>
                <c:pt idx="741" formatCode="0.00">
                  <c:v>2576.3438875909001</c:v>
                </c:pt>
                <c:pt idx="742" formatCode="0.00">
                  <c:v>2044.66478628499</c:v>
                </c:pt>
                <c:pt idx="743" formatCode="0.00">
                  <c:v>2868.9563182708298</c:v>
                </c:pt>
                <c:pt idx="744" formatCode="0.00">
                  <c:v>2472.6334011958302</c:v>
                </c:pt>
                <c:pt idx="745" formatCode="0.00">
                  <c:v>3299.9393580708202</c:v>
                </c:pt>
                <c:pt idx="746" formatCode="0.00">
                  <c:v>2786.5475998083298</c:v>
                </c:pt>
                <c:pt idx="747" formatCode="0.00">
                  <c:v>3225.7517746541598</c:v>
                </c:pt>
                <c:pt idx="748" formatCode="0.00">
                  <c:v>2425.1360756541599</c:v>
                </c:pt>
                <c:pt idx="749" formatCode="0.00">
                  <c:v>2401.8058121333302</c:v>
                </c:pt>
                <c:pt idx="750" formatCode="0.00">
                  <c:v>2113.5125400799898</c:v>
                </c:pt>
                <c:pt idx="751" formatCode="0.00">
                  <c:v>2433.3480168166602</c:v>
                </c:pt>
                <c:pt idx="752" formatCode="0.00">
                  <c:v>2189.0438997312399</c:v>
                </c:pt>
                <c:pt idx="753" formatCode="0.00">
                  <c:v>2483.5657340083299</c:v>
                </c:pt>
                <c:pt idx="754" formatCode="0.00">
                  <c:v>1896.0243473666601</c:v>
                </c:pt>
                <c:pt idx="755" formatCode="0.00">
                  <c:v>2615.8735382874902</c:v>
                </c:pt>
                <c:pt idx="756" formatCode="0.00">
                  <c:v>1992.70477325416</c:v>
                </c:pt>
                <c:pt idx="757" formatCode="0.00">
                  <c:v>2387.7880464916602</c:v>
                </c:pt>
                <c:pt idx="758" formatCode="0.00">
                  <c:v>2358.34048073333</c:v>
                </c:pt>
                <c:pt idx="759" formatCode="0.00">
                  <c:v>3340.70503213333</c:v>
                </c:pt>
                <c:pt idx="760" formatCode="0.00">
                  <c:v>2842.3093060374899</c:v>
                </c:pt>
                <c:pt idx="761" formatCode="0.00">
                  <c:v>3250.4874035166599</c:v>
                </c:pt>
                <c:pt idx="762" formatCode="0.00">
                  <c:v>2453.1961141708298</c:v>
                </c:pt>
                <c:pt idx="763" formatCode="0.00">
                  <c:v>2536.4750736916599</c:v>
                </c:pt>
                <c:pt idx="764" formatCode="0.00">
                  <c:v>1958.7403593583299</c:v>
                </c:pt>
                <c:pt idx="765" formatCode="0.00">
                  <c:v>2217.7377323208302</c:v>
                </c:pt>
                <c:pt idx="766" formatCode="0.00">
                  <c:v>2035.5217133875001</c:v>
                </c:pt>
                <c:pt idx="767" formatCode="0.00">
                  <c:v>2450.3480851874901</c:v>
                </c:pt>
                <c:pt idx="768" formatCode="0.00">
                  <c:v>1864.6022638714201</c:v>
                </c:pt>
                <c:pt idx="769" formatCode="0.00">
                  <c:v>2278.1295495916602</c:v>
                </c:pt>
                <c:pt idx="770" formatCode="0.00">
                  <c:v>1924.9605551166601</c:v>
                </c:pt>
                <c:pt idx="771" formatCode="0.00">
                  <c:v>2560.8750446249901</c:v>
                </c:pt>
                <c:pt idx="772" formatCode="0.00">
                  <c:v>2127.80860193749</c:v>
                </c:pt>
                <c:pt idx="773" formatCode="0.00">
                  <c:v>2746.1296072416599</c:v>
                </c:pt>
                <c:pt idx="774" formatCode="0.00">
                  <c:v>2140.0864342166601</c:v>
                </c:pt>
                <c:pt idx="775" formatCode="0.00">
                  <c:v>2651.1279091166598</c:v>
                </c:pt>
                <c:pt idx="776" formatCode="0.00">
                  <c:v>2198.8909038583301</c:v>
                </c:pt>
                <c:pt idx="777" formatCode="0.00">
                  <c:v>2598.18044052499</c:v>
                </c:pt>
                <c:pt idx="778" formatCode="0.00">
                  <c:v>2166.8205700090898</c:v>
                </c:pt>
                <c:pt idx="779" formatCode="0.00">
                  <c:v>2420.47367987499</c:v>
                </c:pt>
                <c:pt idx="780" formatCode="0.00">
                  <c:v>2104.8423878291601</c:v>
                </c:pt>
                <c:pt idx="781" formatCode="0.00">
                  <c:v>2301.0493781833302</c:v>
                </c:pt>
                <c:pt idx="782" formatCode="0.00">
                  <c:v>2010.89693983749</c:v>
                </c:pt>
                <c:pt idx="783" formatCode="0.00">
                  <c:v>2440.1286881583301</c:v>
                </c:pt>
                <c:pt idx="784" formatCode="0.00">
                  <c:v>1872.7888722083301</c:v>
                </c:pt>
                <c:pt idx="785" formatCode="0.00">
                  <c:v>2702.8843677749901</c:v>
                </c:pt>
                <c:pt idx="786" formatCode="0.00">
                  <c:v>1862.09098722916</c:v>
                </c:pt>
                <c:pt idx="787" formatCode="0.00">
                  <c:v>2301.8307151874901</c:v>
                </c:pt>
                <c:pt idx="788" formatCode="0.00">
                  <c:v>2141.2100704499899</c:v>
                </c:pt>
                <c:pt idx="789" formatCode="0.00">
                  <c:v>2542.9754542625001</c:v>
                </c:pt>
                <c:pt idx="790" formatCode="0.00">
                  <c:v>2141.6758152541602</c:v>
                </c:pt>
                <c:pt idx="791" formatCode="0.00">
                  <c:v>2821.5852816249899</c:v>
                </c:pt>
                <c:pt idx="792" formatCode="0.00">
                  <c:v>2121.2677979249902</c:v>
                </c:pt>
                <c:pt idx="793" formatCode="0.00">
                  <c:v>2725.2631981750001</c:v>
                </c:pt>
                <c:pt idx="794" formatCode="0.00">
                  <c:v>2168.7831825916601</c:v>
                </c:pt>
                <c:pt idx="795" formatCode="0.00">
                  <c:v>2961.5898729458299</c:v>
                </c:pt>
                <c:pt idx="796" formatCode="0.00">
                  <c:v>2059.6434400374901</c:v>
                </c:pt>
                <c:pt idx="797" formatCode="0.00">
                  <c:v>2915.94190402499</c:v>
                </c:pt>
                <c:pt idx="798" formatCode="0.00">
                  <c:v>2074.9507374291602</c:v>
                </c:pt>
                <c:pt idx="799" formatCode="0.00">
                  <c:v>2840.1388558458302</c:v>
                </c:pt>
                <c:pt idx="800" formatCode="0.00">
                  <c:v>2336.1864341833302</c:v>
                </c:pt>
                <c:pt idx="801" formatCode="0.00">
                  <c:v>2795.9823378666601</c:v>
                </c:pt>
                <c:pt idx="802" formatCode="0.00">
                  <c:v>2203.7443846374899</c:v>
                </c:pt>
                <c:pt idx="803" formatCode="0.00">
                  <c:v>2514.4400851124901</c:v>
                </c:pt>
                <c:pt idx="804" formatCode="0.00">
                  <c:v>2254.8362323375</c:v>
                </c:pt>
                <c:pt idx="805" formatCode="0.00">
                  <c:v>2369.5948363374901</c:v>
                </c:pt>
                <c:pt idx="806" formatCode="0.00">
                  <c:v>1974.18200617916</c:v>
                </c:pt>
                <c:pt idx="807" formatCode="0.00">
                  <c:v>2271.7791866166599</c:v>
                </c:pt>
                <c:pt idx="808" formatCode="0.00">
                  <c:v>2014.2160829833299</c:v>
                </c:pt>
                <c:pt idx="809" formatCode="0.00">
                  <c:v>2596.5701936458299</c:v>
                </c:pt>
                <c:pt idx="810" formatCode="0.00">
                  <c:v>1867.4815676363601</c:v>
                </c:pt>
                <c:pt idx="811" formatCode="0.00">
                  <c:v>2828.9775346166598</c:v>
                </c:pt>
                <c:pt idx="812" formatCode="0.00">
                  <c:v>1994.4438366499901</c:v>
                </c:pt>
                <c:pt idx="813" formatCode="0.00">
                  <c:v>2926.1708955250001</c:v>
                </c:pt>
                <c:pt idx="814" formatCode="0.00">
                  <c:v>2554.6178627291602</c:v>
                </c:pt>
                <c:pt idx="815" formatCode="0.00">
                  <c:v>3236.4869237541602</c:v>
                </c:pt>
                <c:pt idx="816" formatCode="0.00">
                  <c:v>2762.5157089416598</c:v>
                </c:pt>
                <c:pt idx="817" formatCode="0.00">
                  <c:v>3531.5317287999901</c:v>
                </c:pt>
                <c:pt idx="818" formatCode="0.00">
                  <c:v>2745.1802333625001</c:v>
                </c:pt>
                <c:pt idx="819" formatCode="0.00">
                  <c:v>3355.4509319083299</c:v>
                </c:pt>
                <c:pt idx="820" formatCode="0.00">
                  <c:v>2603.7976719583298</c:v>
                </c:pt>
                <c:pt idx="821" formatCode="0.00">
                  <c:v>2861.9960459624899</c:v>
                </c:pt>
                <c:pt idx="822" formatCode="0.00">
                  <c:v>2363.6217625333302</c:v>
                </c:pt>
                <c:pt idx="823" formatCode="0.00">
                  <c:v>2935.9480111624898</c:v>
                </c:pt>
                <c:pt idx="824" formatCode="0.00">
                  <c:v>2179.3191565458301</c:v>
                </c:pt>
                <c:pt idx="825" formatCode="0.00">
                  <c:v>2726.05105495833</c:v>
                </c:pt>
                <c:pt idx="826" formatCode="0.00">
                  <c:v>1942.2621511416601</c:v>
                </c:pt>
                <c:pt idx="827" formatCode="0.00">
                  <c:v>2233.6403290041599</c:v>
                </c:pt>
                <c:pt idx="828" formatCode="0.00">
                  <c:v>2017.2257905399899</c:v>
                </c:pt>
                <c:pt idx="829" formatCode="0.00">
                  <c:v>2359.1199209874899</c:v>
                </c:pt>
                <c:pt idx="830" formatCode="0.00">
                  <c:v>2334.5526278249999</c:v>
                </c:pt>
                <c:pt idx="831" formatCode="0.00">
                  <c:v>2805.6281315333299</c:v>
                </c:pt>
                <c:pt idx="832" formatCode="0.00">
                  <c:v>2303.4694622749898</c:v>
                </c:pt>
                <c:pt idx="833" formatCode="0.00">
                  <c:v>3590.6828627166601</c:v>
                </c:pt>
                <c:pt idx="834" formatCode="0.00">
                  <c:v>2704.1649466458298</c:v>
                </c:pt>
                <c:pt idx="835" formatCode="0.00">
                  <c:v>3365.87835465833</c:v>
                </c:pt>
                <c:pt idx="836" formatCode="0.00">
                  <c:v>2625.0986705750001</c:v>
                </c:pt>
                <c:pt idx="837" formatCode="0.00">
                  <c:v>2556.60953337916</c:v>
                </c:pt>
                <c:pt idx="838" formatCode="0.00">
                  <c:v>1823.0696327749899</c:v>
                </c:pt>
                <c:pt idx="839" formatCode="0.00">
                  <c:v>2037.7230165041599</c:v>
                </c:pt>
                <c:pt idx="840" formatCode="0.00">
                  <c:v>1722.8896464541599</c:v>
                </c:pt>
                <c:pt idx="841" formatCode="0.00">
                  <c:v>2063.51221467083</c:v>
                </c:pt>
                <c:pt idx="842" formatCode="0.00">
                  <c:v>2069.9034216374898</c:v>
                </c:pt>
                <c:pt idx="843" formatCode="0.00">
                  <c:v>2923.37536639583</c:v>
                </c:pt>
                <c:pt idx="844" formatCode="0.00">
                  <c:v>2277.0611217166602</c:v>
                </c:pt>
                <c:pt idx="845" formatCode="0.00">
                  <c:v>3388.0708861041599</c:v>
                </c:pt>
                <c:pt idx="846" formatCode="0.00">
                  <c:v>2553.06626393333</c:v>
                </c:pt>
                <c:pt idx="847" formatCode="0.00">
                  <c:v>3123.8353176083301</c:v>
                </c:pt>
                <c:pt idx="848" formatCode="0.00">
                  <c:v>2302.3936510291601</c:v>
                </c:pt>
                <c:pt idx="849" formatCode="0.00">
                  <c:v>2913.6543985708299</c:v>
                </c:pt>
                <c:pt idx="850" formatCode="0.00">
                  <c:v>2279.9175524666598</c:v>
                </c:pt>
                <c:pt idx="851" formatCode="0.00">
                  <c:v>2813.4237973208301</c:v>
                </c:pt>
                <c:pt idx="852" formatCode="0.00">
                  <c:v>1968.99549426666</c:v>
                </c:pt>
                <c:pt idx="853" formatCode="0.00">
                  <c:v>2389.08068954583</c:v>
                </c:pt>
                <c:pt idx="854" formatCode="0.00">
                  <c:v>1789.86981436666</c:v>
                </c:pt>
                <c:pt idx="855" formatCode="0.00">
                  <c:v>2359.7180916666598</c:v>
                </c:pt>
                <c:pt idx="856" formatCode="0.00">
                  <c:v>2029.4388739291601</c:v>
                </c:pt>
                <c:pt idx="857" formatCode="0.00">
                  <c:v>2184.9103650041602</c:v>
                </c:pt>
                <c:pt idx="858" formatCode="0.00">
                  <c:v>2196.38929249999</c:v>
                </c:pt>
                <c:pt idx="859" formatCode="0.00">
                  <c:v>2432.6821969624998</c:v>
                </c:pt>
                <c:pt idx="860" formatCode="0.00">
                  <c:v>2011.3950495611</c:v>
                </c:pt>
                <c:pt idx="861" formatCode="0.00">
                  <c:v>2633.6015288999902</c:v>
                </c:pt>
                <c:pt idx="862" formatCode="0.00">
                  <c:v>2200.4233423099899</c:v>
                </c:pt>
                <c:pt idx="863" formatCode="0.00">
                  <c:v>2618.3027622916602</c:v>
                </c:pt>
                <c:pt idx="864" formatCode="0.00">
                  <c:v>2180.1996981277698</c:v>
                </c:pt>
                <c:pt idx="865" formatCode="0.00">
                  <c:v>2672.35888205833</c:v>
                </c:pt>
                <c:pt idx="866" formatCode="0.00">
                  <c:v>2004.5064299727201</c:v>
                </c:pt>
                <c:pt idx="867" formatCode="0.00">
                  <c:v>2614.9927077249899</c:v>
                </c:pt>
                <c:pt idx="868" formatCode="0.00">
                  <c:v>2097.69024651666</c:v>
                </c:pt>
                <c:pt idx="869" formatCode="0.00">
                  <c:v>2409.2647808500001</c:v>
                </c:pt>
                <c:pt idx="870" formatCode="0.00">
                  <c:v>2208.2178144750001</c:v>
                </c:pt>
                <c:pt idx="871" formatCode="0.00">
                  <c:v>2481.62320262916</c:v>
                </c:pt>
                <c:pt idx="872" formatCode="0.00">
                  <c:v>1865.7514559624899</c:v>
                </c:pt>
                <c:pt idx="873" formatCode="0.00">
                  <c:v>2161.9760966541598</c:v>
                </c:pt>
                <c:pt idx="874" formatCode="0.00">
                  <c:v>2059.1577108863598</c:v>
                </c:pt>
                <c:pt idx="875" formatCode="0.00">
                  <c:v>2244.5299330875</c:v>
                </c:pt>
                <c:pt idx="876" formatCode="0.00">
                  <c:v>2290.24188112499</c:v>
                </c:pt>
                <c:pt idx="877" formatCode="0.00">
                  <c:v>2529.3986842363602</c:v>
                </c:pt>
                <c:pt idx="878" formatCode="0.00">
                  <c:v>2028.51025856499</c:v>
                </c:pt>
                <c:pt idx="879" formatCode="0.00">
                  <c:v>2377.9403508958299</c:v>
                </c:pt>
                <c:pt idx="880" formatCode="0.00">
                  <c:v>1952.47576309285</c:v>
                </c:pt>
                <c:pt idx="881" formatCode="0.00">
                  <c:v>2220.3295659833302</c:v>
                </c:pt>
                <c:pt idx="882" formatCode="0.00">
                  <c:v>1874.4952763250001</c:v>
                </c:pt>
                <c:pt idx="883" formatCode="0.00">
                  <c:v>2408.1716978958302</c:v>
                </c:pt>
                <c:pt idx="884" formatCode="0.00">
                  <c:v>2348.2187846291599</c:v>
                </c:pt>
                <c:pt idx="885" formatCode="0.00">
                  <c:v>2781.20463690833</c:v>
                </c:pt>
                <c:pt idx="886" formatCode="0.00">
                  <c:v>2134.7472275291602</c:v>
                </c:pt>
                <c:pt idx="887" formatCode="0.00">
                  <c:v>2486.2344025124899</c:v>
                </c:pt>
                <c:pt idx="888" formatCode="0.00">
                  <c:v>2081.8465858208301</c:v>
                </c:pt>
                <c:pt idx="889" formatCode="0.00">
                  <c:v>2492.7292517333299</c:v>
                </c:pt>
                <c:pt idx="890" formatCode="0.00">
                  <c:v>2041.2911814045401</c:v>
                </c:pt>
                <c:pt idx="891" formatCode="0.00">
                  <c:v>2261.4539451958299</c:v>
                </c:pt>
                <c:pt idx="892" formatCode="0.00">
                  <c:v>2236.3815262166599</c:v>
                </c:pt>
                <c:pt idx="893" formatCode="0.00">
                  <c:v>2294.4026380458299</c:v>
                </c:pt>
                <c:pt idx="894" formatCode="0.00">
                  <c:v>1918.97782055624</c:v>
                </c:pt>
                <c:pt idx="895" formatCode="0.00">
                  <c:v>2049.31759405499</c:v>
                </c:pt>
                <c:pt idx="896" formatCode="0.00">
                  <c:v>1942.2035167500001</c:v>
                </c:pt>
                <c:pt idx="897" formatCode="0.00">
                  <c:v>2079.3220612045402</c:v>
                </c:pt>
                <c:pt idx="898" formatCode="0.00">
                  <c:v>2228.21130526874</c:v>
                </c:pt>
                <c:pt idx="899" formatCode="0.00">
                  <c:v>2356.6979502374902</c:v>
                </c:pt>
                <c:pt idx="900" formatCode="0.00">
                  <c:v>2131.2112628357099</c:v>
                </c:pt>
                <c:pt idx="901" formatCode="0.00">
                  <c:v>2234.2020854749899</c:v>
                </c:pt>
                <c:pt idx="902" formatCode="0.00">
                  <c:v>1989.2252733749899</c:v>
                </c:pt>
                <c:pt idx="903" formatCode="0.00">
                  <c:v>2125.4146722874898</c:v>
                </c:pt>
                <c:pt idx="904" formatCode="0.00">
                  <c:v>2170.7718819333199</c:v>
                </c:pt>
                <c:pt idx="905" formatCode="0.00">
                  <c:v>2196.29722014444</c:v>
                </c:pt>
                <c:pt idx="906" formatCode="0.00">
                  <c:v>1865.2321135875</c:v>
                </c:pt>
                <c:pt idx="907" formatCode="0.00">
                  <c:v>1895.44555601666</c:v>
                </c:pt>
                <c:pt idx="908" formatCode="0.00">
                  <c:v>1872.2638883899899</c:v>
                </c:pt>
                <c:pt idx="909" formatCode="0.00">
                  <c:v>2022.95829487777</c:v>
                </c:pt>
                <c:pt idx="910" formatCode="0.00">
                  <c:v>1790.18647413333</c:v>
                </c:pt>
                <c:pt idx="911" formatCode="0.00">
                  <c:v>2015.71379709999</c:v>
                </c:pt>
                <c:pt idx="912" formatCode="0.00">
                  <c:v>2113.80004124999</c:v>
                </c:pt>
                <c:pt idx="913" formatCode="0.00">
                  <c:v>2426.57113838636</c:v>
                </c:pt>
                <c:pt idx="914" formatCode="0.00">
                  <c:v>2448.2077285999999</c:v>
                </c:pt>
                <c:pt idx="915" formatCode="0.00">
                  <c:v>2647.5638321749898</c:v>
                </c:pt>
                <c:pt idx="916" formatCode="0.00">
                  <c:v>2236.15374529583</c:v>
                </c:pt>
                <c:pt idx="917" formatCode="0.00">
                  <c:v>2960.3368238749899</c:v>
                </c:pt>
                <c:pt idx="918" formatCode="0.00">
                  <c:v>2407.5297075374901</c:v>
                </c:pt>
                <c:pt idx="919" formatCode="0.00">
                  <c:v>3090.4349697999901</c:v>
                </c:pt>
                <c:pt idx="920" formatCode="0.00">
                  <c:v>2288.5196504999899</c:v>
                </c:pt>
                <c:pt idx="921" formatCode="0.00">
                  <c:v>2693.8758898999899</c:v>
                </c:pt>
                <c:pt idx="922" formatCode="0.00">
                  <c:v>2206.7949992642798</c:v>
                </c:pt>
                <c:pt idx="923" formatCode="0.00">
                  <c:v>2365.86784169166</c:v>
                </c:pt>
                <c:pt idx="924" formatCode="0.00">
                  <c:v>2131.5617423333301</c:v>
                </c:pt>
                <c:pt idx="925" formatCode="0.00">
                  <c:v>2359.2976642333301</c:v>
                </c:pt>
                <c:pt idx="926" formatCode="0.00">
                  <c:v>2337.9500703833301</c:v>
                </c:pt>
                <c:pt idx="927" formatCode="0.00">
                  <c:v>2912.4833422541601</c:v>
                </c:pt>
                <c:pt idx="928" formatCode="0.00">
                  <c:v>2295.36409883333</c:v>
                </c:pt>
                <c:pt idx="929" formatCode="0.00">
                  <c:v>2958.7262230958299</c:v>
                </c:pt>
                <c:pt idx="930" formatCode="0.00">
                  <c:v>2372.2789152708301</c:v>
                </c:pt>
                <c:pt idx="931" formatCode="0.00">
                  <c:v>2944.1665049916601</c:v>
                </c:pt>
                <c:pt idx="932" formatCode="0.00">
                  <c:v>2434.2545983291602</c:v>
                </c:pt>
                <c:pt idx="933" formatCode="0.00">
                  <c:v>2856.5136013041601</c:v>
                </c:pt>
                <c:pt idx="934" formatCode="0.00">
                  <c:v>2476.64930895833</c:v>
                </c:pt>
                <c:pt idx="935" formatCode="0.00">
                  <c:v>2751.0332943083299</c:v>
                </c:pt>
                <c:pt idx="936" formatCode="0.00">
                  <c:v>2073.3610607041601</c:v>
                </c:pt>
                <c:pt idx="937" formatCode="0.00">
                  <c:v>2334.1648400416602</c:v>
                </c:pt>
                <c:pt idx="938" formatCode="0.00">
                  <c:v>2055.7750104791598</c:v>
                </c:pt>
                <c:pt idx="939" formatCode="0.00">
                  <c:v>2477.5667578541602</c:v>
                </c:pt>
                <c:pt idx="940" formatCode="0.00">
                  <c:v>2201.8428448958298</c:v>
                </c:pt>
                <c:pt idx="941" formatCode="0.00">
                  <c:v>2783.7458944458299</c:v>
                </c:pt>
                <c:pt idx="942" formatCode="0.00">
                  <c:v>2191.43477437916</c:v>
                </c:pt>
                <c:pt idx="943" formatCode="0.00">
                  <c:v>2736.8444697791601</c:v>
                </c:pt>
                <c:pt idx="944" formatCode="0.00">
                  <c:v>2292.4584675374999</c:v>
                </c:pt>
                <c:pt idx="945" formatCode="0.00">
                  <c:v>2600.28185396249</c:v>
                </c:pt>
                <c:pt idx="946" formatCode="0.00">
                  <c:v>2238.1594617291598</c:v>
                </c:pt>
                <c:pt idx="947" formatCode="0.00">
                  <c:v>2570.20604453333</c:v>
                </c:pt>
                <c:pt idx="948" formatCode="0.00">
                  <c:v>2178.1450835374999</c:v>
                </c:pt>
                <c:pt idx="949" formatCode="0.00">
                  <c:v>2458.4068403333299</c:v>
                </c:pt>
                <c:pt idx="950" formatCode="0.00">
                  <c:v>1947.3650472541599</c:v>
                </c:pt>
                <c:pt idx="951" formatCode="0.00">
                  <c:v>2177.5841689416602</c:v>
                </c:pt>
                <c:pt idx="952" formatCode="0.00">
                  <c:v>1923.60790184999</c:v>
                </c:pt>
                <c:pt idx="953" formatCode="0.00">
                  <c:v>2084.3268327874898</c:v>
                </c:pt>
                <c:pt idx="954" formatCode="0.00">
                  <c:v>2178.3010684624901</c:v>
                </c:pt>
                <c:pt idx="955" formatCode="0.00">
                  <c:v>2342.1035759041602</c:v>
                </c:pt>
                <c:pt idx="956" formatCode="0.00">
                  <c:v>1986.8119818208299</c:v>
                </c:pt>
                <c:pt idx="957" formatCode="0.00">
                  <c:v>2492.27483820416</c:v>
                </c:pt>
                <c:pt idx="958" formatCode="0.00">
                  <c:v>2011.5389245375</c:v>
                </c:pt>
                <c:pt idx="959" formatCode="0.00">
                  <c:v>2541.34914761666</c:v>
                </c:pt>
                <c:pt idx="960" formatCode="0.00">
                  <c:v>1869.39257215833</c:v>
                </c:pt>
                <c:pt idx="961" formatCode="0.00">
                  <c:v>2113.9166695624899</c:v>
                </c:pt>
                <c:pt idx="962" formatCode="0.00">
                  <c:v>2041.3888132874899</c:v>
                </c:pt>
                <c:pt idx="963" formatCode="0.00">
                  <c:v>2392.579391925</c:v>
                </c:pt>
                <c:pt idx="964" formatCode="0.00">
                  <c:v>1847.6206024749899</c:v>
                </c:pt>
                <c:pt idx="965" formatCode="0.00">
                  <c:v>2103.7799291791598</c:v>
                </c:pt>
                <c:pt idx="966" formatCode="0.00">
                  <c:v>1684.3235995374901</c:v>
                </c:pt>
                <c:pt idx="967" formatCode="0.00">
                  <c:v>2057.4672101124902</c:v>
                </c:pt>
                <c:pt idx="968" formatCode="0.00">
                  <c:v>2173.1531144277701</c:v>
                </c:pt>
                <c:pt idx="969" formatCode="0.00">
                  <c:v>2380.5147788583299</c:v>
                </c:pt>
                <c:pt idx="970" formatCode="0.00">
                  <c:v>2278.7772955714199</c:v>
                </c:pt>
                <c:pt idx="971" formatCode="0.00">
                  <c:v>2434.3405128333302</c:v>
                </c:pt>
                <c:pt idx="972" formatCode="0.00">
                  <c:v>2006.54166748749</c:v>
                </c:pt>
                <c:pt idx="973" formatCode="0.00">
                  <c:v>2714.09375346363</c:v>
                </c:pt>
                <c:pt idx="974" formatCode="0.00">
                  <c:v>2391.99487152856</c:v>
                </c:pt>
                <c:pt idx="975" formatCode="0.00">
                  <c:v>2329.3039084624902</c:v>
                </c:pt>
                <c:pt idx="976" formatCode="0.00">
                  <c:v>2077.1218812541601</c:v>
                </c:pt>
                <c:pt idx="977" formatCode="0.00">
                  <c:v>2290.5947934124902</c:v>
                </c:pt>
                <c:pt idx="978" formatCode="0.00">
                  <c:v>1952.5976356333299</c:v>
                </c:pt>
                <c:pt idx="979" formatCode="0.00">
                  <c:v>2205.2421286318099</c:v>
                </c:pt>
                <c:pt idx="980" formatCode="0.00">
                  <c:v>1820.63976945833</c:v>
                </c:pt>
                <c:pt idx="981" formatCode="0.00">
                  <c:v>1949.2376995124901</c:v>
                </c:pt>
                <c:pt idx="982" formatCode="0.00">
                  <c:v>2011.5588322041599</c:v>
                </c:pt>
                <c:pt idx="983" formatCode="0.00">
                  <c:v>2407.8819831791602</c:v>
                </c:pt>
                <c:pt idx="984" formatCode="0.00">
                  <c:v>2108.0878239458302</c:v>
                </c:pt>
                <c:pt idx="985" formatCode="0.00">
                  <c:v>2425.3941229549901</c:v>
                </c:pt>
                <c:pt idx="986" formatCode="0.00">
                  <c:v>2276.4651883285601</c:v>
                </c:pt>
                <c:pt idx="987" formatCode="0.00">
                  <c:v>2385.3081387208299</c:v>
                </c:pt>
                <c:pt idx="988" formatCode="0.00">
                  <c:v>2207.3602180749999</c:v>
                </c:pt>
                <c:pt idx="989" formatCode="0.00">
                  <c:v>2288.4663373499902</c:v>
                </c:pt>
                <c:pt idx="990" formatCode="0.00">
                  <c:v>2266.71607263332</c:v>
                </c:pt>
                <c:pt idx="991" formatCode="0.00">
                  <c:v>2149.3511236791601</c:v>
                </c:pt>
                <c:pt idx="992" formatCode="0.00">
                  <c:v>1762.31032626666</c:v>
                </c:pt>
                <c:pt idx="993" formatCode="0.00">
                  <c:v>2091.57613969166</c:v>
                </c:pt>
                <c:pt idx="994" formatCode="0.00">
                  <c:v>1767.7216455299899</c:v>
                </c:pt>
                <c:pt idx="995" formatCode="0.00">
                  <c:v>2194.2849347363599</c:v>
                </c:pt>
                <c:pt idx="996" formatCode="0.00">
                  <c:v>2256.8843618562501</c:v>
                </c:pt>
                <c:pt idx="997" formatCode="0.00">
                  <c:v>2440.1407365749901</c:v>
                </c:pt>
                <c:pt idx="998" formatCode="0.00">
                  <c:v>2054.2260679208298</c:v>
                </c:pt>
                <c:pt idx="999" formatCode="0.00">
                  <c:v>2363.7651461291598</c:v>
                </c:pt>
                <c:pt idx="1000" formatCode="0.00">
                  <c:v>2197.8695865333302</c:v>
                </c:pt>
                <c:pt idx="1001" formatCode="0.00">
                  <c:v>2418.2252856916598</c:v>
                </c:pt>
                <c:pt idx="1002" formatCode="0.00">
                  <c:v>2219.37749874375</c:v>
                </c:pt>
                <c:pt idx="1003" formatCode="0.00">
                  <c:v>2426.06493250416</c:v>
                </c:pt>
                <c:pt idx="1004" formatCode="0.00">
                  <c:v>2061.1680646954501</c:v>
                </c:pt>
                <c:pt idx="1005" formatCode="0.00">
                  <c:v>2398.4183871208202</c:v>
                </c:pt>
                <c:pt idx="1006" formatCode="0.00">
                  <c:v>1932.5191484818099</c:v>
                </c:pt>
                <c:pt idx="1007" formatCode="0.00">
                  <c:v>2209.34832387499</c:v>
                </c:pt>
                <c:pt idx="1008" formatCode="0.00">
                  <c:v>1804.0047631083301</c:v>
                </c:pt>
                <c:pt idx="1009" formatCode="0.00">
                  <c:v>2239.4996949791598</c:v>
                </c:pt>
                <c:pt idx="1010" formatCode="0.00">
                  <c:v>2215.2909385708299</c:v>
                </c:pt>
                <c:pt idx="1011" formatCode="0.00">
                  <c:v>2526.5955351749899</c:v>
                </c:pt>
                <c:pt idx="1012" formatCode="0.00">
                  <c:v>2102.5246024374901</c:v>
                </c:pt>
                <c:pt idx="1013" formatCode="0.00">
                  <c:v>2350.89282996666</c:v>
                </c:pt>
                <c:pt idx="1014" formatCode="0.00">
                  <c:v>2121.1059986833302</c:v>
                </c:pt>
                <c:pt idx="1015" formatCode="0.00">
                  <c:v>2473.74528315416</c:v>
                </c:pt>
                <c:pt idx="1016" formatCode="0.00">
                  <c:v>2153.7002823791599</c:v>
                </c:pt>
                <c:pt idx="1017" formatCode="0.00">
                  <c:v>2502.3010268374901</c:v>
                </c:pt>
                <c:pt idx="1018" formatCode="0.00">
                  <c:v>2305.6693803666599</c:v>
                </c:pt>
                <c:pt idx="1019" formatCode="0.00">
                  <c:v>2412.1884145583299</c:v>
                </c:pt>
                <c:pt idx="1020" formatCode="0.00">
                  <c:v>2151.8897925285601</c:v>
                </c:pt>
                <c:pt idx="1021" formatCode="0.00">
                  <c:v>2256.65196733333</c:v>
                </c:pt>
                <c:pt idx="1022" formatCode="0.00">
                  <c:v>1836.86610517083</c:v>
                </c:pt>
                <c:pt idx="1023" formatCode="0.00">
                  <c:v>2239.7297245291602</c:v>
                </c:pt>
                <c:pt idx="1024" formatCode="0.00">
                  <c:v>2140.23545285416</c:v>
                </c:pt>
                <c:pt idx="1025" formatCode="0.00">
                  <c:v>2506.3152242749902</c:v>
                </c:pt>
                <c:pt idx="1026" formatCode="0.00">
                  <c:v>2137.7923270874899</c:v>
                </c:pt>
                <c:pt idx="1027" formatCode="0.00">
                  <c:v>2460.35066638749</c:v>
                </c:pt>
                <c:pt idx="1028" formatCode="0.00">
                  <c:v>2122.5202968374902</c:v>
                </c:pt>
                <c:pt idx="1029" formatCode="0.00">
                  <c:v>2413.4504149291602</c:v>
                </c:pt>
                <c:pt idx="1030" formatCode="0.00">
                  <c:v>2454.0782498888798</c:v>
                </c:pt>
                <c:pt idx="1031" formatCode="0.00">
                  <c:v>2702.1822030666599</c:v>
                </c:pt>
                <c:pt idx="1032" formatCode="0.00">
                  <c:v>2678.7584678062399</c:v>
                </c:pt>
                <c:pt idx="1033" formatCode="0.00">
                  <c:v>2736.0415722318098</c:v>
                </c:pt>
                <c:pt idx="1034" formatCode="0.00">
                  <c:v>2425.2262150699898</c:v>
                </c:pt>
                <c:pt idx="1035" formatCode="0.00">
                  <c:v>2471.2303256999899</c:v>
                </c:pt>
                <c:pt idx="1036" formatCode="0.00">
                  <c:v>2015.5064658958299</c:v>
                </c:pt>
                <c:pt idx="1037" formatCode="0.00">
                  <c:v>2465.7789927958302</c:v>
                </c:pt>
                <c:pt idx="1038" formatCode="0.00">
                  <c:v>1971.19641015555</c:v>
                </c:pt>
                <c:pt idx="1039" formatCode="0.00">
                  <c:v>2330.57700935</c:v>
                </c:pt>
                <c:pt idx="1040" formatCode="0.00">
                  <c:v>2225.8439881541599</c:v>
                </c:pt>
                <c:pt idx="1041" formatCode="0.00">
                  <c:v>2563.3973150874899</c:v>
                </c:pt>
                <c:pt idx="1042" formatCode="0.00">
                  <c:v>2178.5005601166599</c:v>
                </c:pt>
                <c:pt idx="1043" formatCode="0.00">
                  <c:v>2503.8253872708201</c:v>
                </c:pt>
                <c:pt idx="1044" formatCode="0.00">
                  <c:v>2083.68529156666</c:v>
                </c:pt>
                <c:pt idx="1045" formatCode="0.00">
                  <c:v>2555.2738623083301</c:v>
                </c:pt>
                <c:pt idx="1046" formatCode="0.00">
                  <c:v>2183.7037006874998</c:v>
                </c:pt>
                <c:pt idx="1047" formatCode="0.00">
                  <c:v>2578.8708050083301</c:v>
                </c:pt>
                <c:pt idx="1048" formatCode="0.00">
                  <c:v>2021.06139560833</c:v>
                </c:pt>
                <c:pt idx="1049" formatCode="0.00">
                  <c:v>2307.6349154958298</c:v>
                </c:pt>
                <c:pt idx="1050" formatCode="0.00">
                  <c:v>1877.57732694583</c:v>
                </c:pt>
                <c:pt idx="1051" formatCode="0.00">
                  <c:v>2290.7028185624899</c:v>
                </c:pt>
                <c:pt idx="1052" formatCode="0.00">
                  <c:v>2201.9893836583301</c:v>
                </c:pt>
                <c:pt idx="1053" formatCode="0.00">
                  <c:v>2536.5788713624902</c:v>
                </c:pt>
                <c:pt idx="1054" formatCode="0.00">
                  <c:v>2227.0405394958302</c:v>
                </c:pt>
                <c:pt idx="1055" formatCode="0.00">
                  <c:v>2665.6304535374902</c:v>
                </c:pt>
                <c:pt idx="1056" formatCode="0.00">
                  <c:v>2358.7919673049901</c:v>
                </c:pt>
                <c:pt idx="1057" formatCode="0.00">
                  <c:v>2582.399825</c:v>
                </c:pt>
                <c:pt idx="1058" formatCode="0.00">
                  <c:v>2205.4939439708301</c:v>
                </c:pt>
                <c:pt idx="1059" formatCode="0.00">
                  <c:v>2531.0467592124901</c:v>
                </c:pt>
                <c:pt idx="1060" formatCode="0.00">
                  <c:v>2264.1822469833301</c:v>
                </c:pt>
                <c:pt idx="1061" formatCode="0.00">
                  <c:v>2578.9773850833299</c:v>
                </c:pt>
                <c:pt idx="1062" formatCode="0.00">
                  <c:v>2073.3362390083298</c:v>
                </c:pt>
                <c:pt idx="1063" formatCode="0.00">
                  <c:v>2549.9073886291599</c:v>
                </c:pt>
                <c:pt idx="1064" formatCode="0.00">
                  <c:v>2066.1066521041598</c:v>
                </c:pt>
                <c:pt idx="1065" formatCode="0.00">
                  <c:v>2391.6909986791602</c:v>
                </c:pt>
                <c:pt idx="1066" formatCode="0.00">
                  <c:v>2231.3980455291598</c:v>
                </c:pt>
                <c:pt idx="1067" formatCode="0.00">
                  <c:v>2742.09098012499</c:v>
                </c:pt>
                <c:pt idx="1068" formatCode="0.00">
                  <c:v>2318.3316843083298</c:v>
                </c:pt>
                <c:pt idx="1069" formatCode="0.00">
                  <c:v>2765.9187628833301</c:v>
                </c:pt>
                <c:pt idx="1070" formatCode="0.00">
                  <c:v>2283.41872064166</c:v>
                </c:pt>
                <c:pt idx="1071" formatCode="0.00">
                  <c:v>2579.1935956208299</c:v>
                </c:pt>
                <c:pt idx="1072" formatCode="0.00">
                  <c:v>2345.47395315833</c:v>
                </c:pt>
                <c:pt idx="1073" formatCode="0.00">
                  <c:v>2774.09424652499</c:v>
                </c:pt>
                <c:pt idx="1074" formatCode="0.00">
                  <c:v>2511.9457208888798</c:v>
                </c:pt>
                <c:pt idx="1075" formatCode="0.00">
                  <c:v>2589.7789234666602</c:v>
                </c:pt>
                <c:pt idx="1076" formatCode="0.00">
                  <c:v>2260.8152649937501</c:v>
                </c:pt>
                <c:pt idx="1077" formatCode="0.00">
                  <c:v>2314.3122076</c:v>
                </c:pt>
                <c:pt idx="1078" formatCode="0.00">
                  <c:v>2167.0786755899899</c:v>
                </c:pt>
                <c:pt idx="1079" formatCode="0.00">
                  <c:v>2499.29126914166</c:v>
                </c:pt>
                <c:pt idx="1080" formatCode="0.00">
                  <c:v>2245.5092780908999</c:v>
                </c:pt>
                <c:pt idx="1081" formatCode="0.00">
                  <c:v>2493.59503287083</c:v>
                </c:pt>
                <c:pt idx="1082" formatCode="0.00">
                  <c:v>2274.4805100541598</c:v>
                </c:pt>
                <c:pt idx="1083" formatCode="0.00">
                  <c:v>2519.4081521583298</c:v>
                </c:pt>
                <c:pt idx="1084" formatCode="0.00">
                  <c:v>2344.2071731041601</c:v>
                </c:pt>
                <c:pt idx="1085" formatCode="0.00">
                  <c:v>2672.66476106666</c:v>
                </c:pt>
                <c:pt idx="1086" formatCode="0.00">
                  <c:v>2233.1198583833302</c:v>
                </c:pt>
                <c:pt idx="1087" formatCode="0.00">
                  <c:v>2668.0619382708301</c:v>
                </c:pt>
                <c:pt idx="1088" formatCode="0.00">
                  <c:v>2219.4378834791601</c:v>
                </c:pt>
                <c:pt idx="1089" formatCode="0.00">
                  <c:v>2484.5921682708299</c:v>
                </c:pt>
                <c:pt idx="1090" formatCode="0.00">
                  <c:v>1975.0117345541601</c:v>
                </c:pt>
                <c:pt idx="1091" formatCode="0.00">
                  <c:v>2351.1718993333302</c:v>
                </c:pt>
                <c:pt idx="1092" formatCode="0.00">
                  <c:v>2140.66846049374</c:v>
                </c:pt>
                <c:pt idx="1093" formatCode="0.00">
                  <c:v>2271.0611251458299</c:v>
                </c:pt>
                <c:pt idx="1094" formatCode="0.00">
                  <c:v>2574.4839794437498</c:v>
                </c:pt>
                <c:pt idx="1095" formatCode="0.00">
                  <c:v>2609.5576928791602</c:v>
                </c:pt>
                <c:pt idx="1096" formatCode="0.00">
                  <c:v>2346.5856706916602</c:v>
                </c:pt>
                <c:pt idx="1097" formatCode="0.00">
                  <c:v>2516.7227591958299</c:v>
                </c:pt>
                <c:pt idx="1098" formatCode="0.00">
                  <c:v>2310.1774498208301</c:v>
                </c:pt>
                <c:pt idx="1099" formatCode="0.00">
                  <c:v>2751.0745728249999</c:v>
                </c:pt>
                <c:pt idx="1100" formatCode="0.00">
                  <c:v>2400.1643356333302</c:v>
                </c:pt>
                <c:pt idx="1101" formatCode="0.00">
                  <c:v>2722.1102453374901</c:v>
                </c:pt>
                <c:pt idx="1102" formatCode="0.00">
                  <c:v>2495.8680823333302</c:v>
                </c:pt>
                <c:pt idx="1103" formatCode="0.00">
                  <c:v>2687.2987756124899</c:v>
                </c:pt>
                <c:pt idx="1104" formatCode="0.00">
                  <c:v>2199.4620709124902</c:v>
                </c:pt>
                <c:pt idx="1105" formatCode="0.00">
                  <c:v>2519.9222484124898</c:v>
                </c:pt>
                <c:pt idx="1106" formatCode="0.00">
                  <c:v>2144.8894027624901</c:v>
                </c:pt>
                <c:pt idx="1107" formatCode="0.00">
                  <c:v>2539.6737235833298</c:v>
                </c:pt>
                <c:pt idx="1108" formatCode="0.00">
                  <c:v>2440.8228677041602</c:v>
                </c:pt>
                <c:pt idx="1109" formatCode="0.00">
                  <c:v>2736.0700492958299</c:v>
                </c:pt>
                <c:pt idx="1110" formatCode="0.00">
                  <c:v>2403.47110140416</c:v>
                </c:pt>
                <c:pt idx="1111" formatCode="0.00">
                  <c:v>2780.5965677541599</c:v>
                </c:pt>
                <c:pt idx="1112" formatCode="0.00">
                  <c:v>2162.8221352833302</c:v>
                </c:pt>
                <c:pt idx="1113" formatCode="0.00">
                  <c:v>2573.8093451916602</c:v>
                </c:pt>
                <c:pt idx="1114" formatCode="0.00">
                  <c:v>2343.7493510458198</c:v>
                </c:pt>
                <c:pt idx="1115" formatCode="0.00">
                  <c:v>2857.1240147541598</c:v>
                </c:pt>
                <c:pt idx="1116" formatCode="0.00">
                  <c:v>2318.55609405416</c:v>
                </c:pt>
                <c:pt idx="1117" formatCode="0.00">
                  <c:v>2505.1996293375</c:v>
                </c:pt>
                <c:pt idx="1118" formatCode="0.00">
                  <c:v>2020.46666515416</c:v>
                </c:pt>
                <c:pt idx="1119" formatCode="0.00">
                  <c:v>2413.80579378333</c:v>
                </c:pt>
                <c:pt idx="1120" formatCode="0.00">
                  <c:v>1996.57660631249</c:v>
                </c:pt>
                <c:pt idx="1121" formatCode="0.00">
                  <c:v>2352.0824248041599</c:v>
                </c:pt>
                <c:pt idx="1122" formatCode="0.00">
                  <c:v>2143.90196194583</c:v>
                </c:pt>
                <c:pt idx="1123" formatCode="0.00">
                  <c:v>2606.9075596708299</c:v>
                </c:pt>
                <c:pt idx="1124" formatCode="0.00">
                  <c:v>2324.38466607499</c:v>
                </c:pt>
                <c:pt idx="1125" formatCode="0.00">
                  <c:v>2648.5148793624899</c:v>
                </c:pt>
                <c:pt idx="1126" formatCode="0.00">
                  <c:v>2291.0671482749899</c:v>
                </c:pt>
                <c:pt idx="1127" formatCode="0.00">
                  <c:v>2642.4324848708302</c:v>
                </c:pt>
                <c:pt idx="1128" formatCode="0.00">
                  <c:v>2486.63121728749</c:v>
                </c:pt>
                <c:pt idx="1129" formatCode="0.00">
                  <c:v>2778.6083636916601</c:v>
                </c:pt>
                <c:pt idx="1130" formatCode="0.00">
                  <c:v>2422.4372520291599</c:v>
                </c:pt>
                <c:pt idx="1131" formatCode="0.00">
                  <c:v>2721.7999010458302</c:v>
                </c:pt>
                <c:pt idx="1132" formatCode="0.00">
                  <c:v>2212.9776560874898</c:v>
                </c:pt>
                <c:pt idx="1133" formatCode="0.00">
                  <c:v>2501.9361610916599</c:v>
                </c:pt>
                <c:pt idx="1134" formatCode="0.00">
                  <c:v>2111.5541722166599</c:v>
                </c:pt>
                <c:pt idx="1135" formatCode="0.00">
                  <c:v>2530.7492368666599</c:v>
                </c:pt>
                <c:pt idx="1136" formatCode="0.00">
                  <c:v>2497.3223774458202</c:v>
                </c:pt>
                <c:pt idx="1137" formatCode="0.00">
                  <c:v>2732.7460427999999</c:v>
                </c:pt>
                <c:pt idx="1138" formatCode="0.00">
                  <c:v>2439.8128192833301</c:v>
                </c:pt>
                <c:pt idx="1139" formatCode="0.00">
                  <c:v>2564.54435559999</c:v>
                </c:pt>
                <c:pt idx="1140" formatCode="0.00">
                  <c:v>2039.49136985833</c:v>
                </c:pt>
                <c:pt idx="1141" formatCode="0.00">
                  <c:v>2476.18546571249</c:v>
                </c:pt>
                <c:pt idx="1142" formatCode="0.00">
                  <c:v>2162.33460924166</c:v>
                </c:pt>
                <c:pt idx="1143" formatCode="0.00">
                  <c:v>2505.5693950791601</c:v>
                </c:pt>
                <c:pt idx="1144" formatCode="0.00">
                  <c:v>2241.4802592041601</c:v>
                </c:pt>
                <c:pt idx="1145" formatCode="0.00">
                  <c:v>2905.0637619208301</c:v>
                </c:pt>
                <c:pt idx="1146" formatCode="0.00">
                  <c:v>2179.3773501249898</c:v>
                </c:pt>
                <c:pt idx="1147" formatCode="0.00">
                  <c:v>2483.37733289166</c:v>
                </c:pt>
                <c:pt idx="1148" formatCode="0.00">
                  <c:v>1970.0525984583301</c:v>
                </c:pt>
                <c:pt idx="1149" formatCode="0.00">
                  <c:v>2421.4947473458301</c:v>
                </c:pt>
                <c:pt idx="1150" formatCode="0.00">
                  <c:v>2258.18339816249</c:v>
                </c:pt>
                <c:pt idx="1151" formatCode="0.00">
                  <c:v>2689.0604894916601</c:v>
                </c:pt>
                <c:pt idx="1152" formatCode="0.00">
                  <c:v>2404.6785901416602</c:v>
                </c:pt>
                <c:pt idx="1153" formatCode="0.00">
                  <c:v>2544.4278952458299</c:v>
                </c:pt>
                <c:pt idx="1154" formatCode="0.00">
                  <c:v>2210.3872715416601</c:v>
                </c:pt>
                <c:pt idx="1155" formatCode="0.00">
                  <c:v>2609.8060056208301</c:v>
                </c:pt>
                <c:pt idx="1156" formatCode="0.00">
                  <c:v>2268.1242514916598</c:v>
                </c:pt>
                <c:pt idx="1157" formatCode="0.00">
                  <c:v>2530.30713499166</c:v>
                </c:pt>
                <c:pt idx="1158" formatCode="0.00">
                  <c:v>2248.5141886624901</c:v>
                </c:pt>
                <c:pt idx="1159" formatCode="0.00">
                  <c:v>2468.9981134874902</c:v>
                </c:pt>
                <c:pt idx="1160" formatCode="0.00">
                  <c:v>2007.1091398083299</c:v>
                </c:pt>
                <c:pt idx="1161" formatCode="0.00">
                  <c:v>2283.2115860958302</c:v>
                </c:pt>
                <c:pt idx="1162" formatCode="0.00">
                  <c:v>1926.3508711791601</c:v>
                </c:pt>
                <c:pt idx="1163" formatCode="0.00">
                  <c:v>2254.4026167624902</c:v>
                </c:pt>
                <c:pt idx="1164" formatCode="0.00">
                  <c:v>2097.32178277499</c:v>
                </c:pt>
                <c:pt idx="1165" formatCode="0.00">
                  <c:v>2447.0156194791598</c:v>
                </c:pt>
                <c:pt idx="1166" formatCode="0.00">
                  <c:v>2058.4143178874901</c:v>
                </c:pt>
                <c:pt idx="1167" formatCode="0.00">
                  <c:v>2263.9383129583298</c:v>
                </c:pt>
                <c:pt idx="1168" formatCode="0.00">
                  <c:v>2234.9891930833301</c:v>
                </c:pt>
                <c:pt idx="1169" formatCode="0.00">
                  <c:v>2535.4648421291599</c:v>
                </c:pt>
                <c:pt idx="1170" formatCode="0.00">
                  <c:v>2119.8378024249901</c:v>
                </c:pt>
                <c:pt idx="1171" formatCode="0.00">
                  <c:v>2611.1508810291598</c:v>
                </c:pt>
                <c:pt idx="1172" formatCode="0.00">
                  <c:v>2252.2625322999902</c:v>
                </c:pt>
                <c:pt idx="1173" formatCode="0.00">
                  <c:v>2435.58375557916</c:v>
                </c:pt>
                <c:pt idx="1174" formatCode="0.00">
                  <c:v>2012.25450448333</c:v>
                </c:pt>
                <c:pt idx="1175" formatCode="0.00">
                  <c:v>2306.09973747083</c:v>
                </c:pt>
                <c:pt idx="1176" formatCode="0.00">
                  <c:v>1922.23204700416</c:v>
                </c:pt>
                <c:pt idx="1177" formatCode="0.00">
                  <c:v>2271.5186199166601</c:v>
                </c:pt>
                <c:pt idx="1178" formatCode="0.00">
                  <c:v>2173.2485973624898</c:v>
                </c:pt>
                <c:pt idx="1179" formatCode="0.00">
                  <c:v>2599.35337378333</c:v>
                </c:pt>
                <c:pt idx="1180" formatCode="0.00">
                  <c:v>2275.3774637166598</c:v>
                </c:pt>
                <c:pt idx="1181" formatCode="0.00">
                  <c:v>2572.1158187249898</c:v>
                </c:pt>
                <c:pt idx="1182" formatCode="0.00">
                  <c:v>2332.2469968083201</c:v>
                </c:pt>
                <c:pt idx="1183" formatCode="0.00">
                  <c:v>2522.0577934541602</c:v>
                </c:pt>
                <c:pt idx="1184" formatCode="0.00">
                  <c:v>2178.5971232791599</c:v>
                </c:pt>
                <c:pt idx="1185" formatCode="0.00">
                  <c:v>2640.2822745583298</c:v>
                </c:pt>
                <c:pt idx="1186" formatCode="0.00">
                  <c:v>2262.52688914583</c:v>
                </c:pt>
                <c:pt idx="1187" formatCode="0.00">
                  <c:v>2547.7255107166602</c:v>
                </c:pt>
                <c:pt idx="1188" formatCode="0.00">
                  <c:v>2002.28532935416</c:v>
                </c:pt>
                <c:pt idx="1189" formatCode="0.00">
                  <c:v>2471.14781382916</c:v>
                </c:pt>
                <c:pt idx="1190" formatCode="0.00">
                  <c:v>1884.5189767458301</c:v>
                </c:pt>
                <c:pt idx="1191" formatCode="0.00">
                  <c:v>2284.6860655041601</c:v>
                </c:pt>
                <c:pt idx="1192" formatCode="0.00">
                  <c:v>2074.9366848416598</c:v>
                </c:pt>
                <c:pt idx="1193" formatCode="0.00">
                  <c:v>2416.9764224291598</c:v>
                </c:pt>
                <c:pt idx="1194" formatCode="0.00">
                  <c:v>2351.8879272875001</c:v>
                </c:pt>
                <c:pt idx="1195" formatCode="0.00">
                  <c:v>2486.4495979416602</c:v>
                </c:pt>
                <c:pt idx="1196" formatCode="0.00">
                  <c:v>2205.80877638333</c:v>
                </c:pt>
                <c:pt idx="1197" formatCode="0.00">
                  <c:v>2463.8877806208302</c:v>
                </c:pt>
                <c:pt idx="1198" formatCode="0.00">
                  <c:v>2389.5416550772702</c:v>
                </c:pt>
                <c:pt idx="1199" formatCode="0.00">
                  <c:v>2462.3126748458299</c:v>
                </c:pt>
                <c:pt idx="1200" formatCode="0.00">
                  <c:v>2597.9697656916601</c:v>
                </c:pt>
                <c:pt idx="1201" formatCode="0.00">
                  <c:v>2343.0126144708302</c:v>
                </c:pt>
                <c:pt idx="1202" formatCode="0.00">
                  <c:v>1935.67293994999</c:v>
                </c:pt>
                <c:pt idx="1203" formatCode="0.00">
                  <c:v>2169.6442316708199</c:v>
                </c:pt>
                <c:pt idx="1204" formatCode="0.00">
                  <c:v>1945.7263270999899</c:v>
                </c:pt>
                <c:pt idx="1205" formatCode="0.00">
                  <c:v>2415.7238709749899</c:v>
                </c:pt>
                <c:pt idx="1206" formatCode="0.00">
                  <c:v>2155.8468403083298</c:v>
                </c:pt>
                <c:pt idx="1207" formatCode="0.00">
                  <c:v>2488.4190322208301</c:v>
                </c:pt>
                <c:pt idx="1208" formatCode="0.00">
                  <c:v>2225.5085196499999</c:v>
                </c:pt>
                <c:pt idx="1209" formatCode="0.00">
                  <c:v>2729.62043478749</c:v>
                </c:pt>
                <c:pt idx="1210" formatCode="0.00">
                  <c:v>2310.9775189749898</c:v>
                </c:pt>
                <c:pt idx="1211" formatCode="0.00">
                  <c:v>2549.6945594041599</c:v>
                </c:pt>
                <c:pt idx="1212" formatCode="0.00">
                  <c:v>2250.2431120541601</c:v>
                </c:pt>
                <c:pt idx="1213" formatCode="0.00">
                  <c:v>2474.0586088999898</c:v>
                </c:pt>
                <c:pt idx="1214" formatCode="0.00">
                  <c:v>2181.92416806249</c:v>
                </c:pt>
                <c:pt idx="1215" formatCode="0.00">
                  <c:v>2459.62038521249</c:v>
                </c:pt>
                <c:pt idx="1216" formatCode="0.00">
                  <c:v>2001.1209491583299</c:v>
                </c:pt>
                <c:pt idx="1217" formatCode="0.00">
                  <c:v>2264.75547124166</c:v>
                </c:pt>
                <c:pt idx="1218" formatCode="0.00">
                  <c:v>1921.8538409166599</c:v>
                </c:pt>
                <c:pt idx="1219" formatCode="0.00">
                  <c:v>2338.8713482916601</c:v>
                </c:pt>
                <c:pt idx="1220" formatCode="0.00">
                  <c:v>2248.2096055541601</c:v>
                </c:pt>
                <c:pt idx="1221" formatCode="0.00">
                  <c:v>2430.7613596208298</c:v>
                </c:pt>
                <c:pt idx="1222" formatCode="0.00">
                  <c:v>2143.8002868999902</c:v>
                </c:pt>
                <c:pt idx="1223" formatCode="0.00">
                  <c:v>2488.10847363333</c:v>
                </c:pt>
                <c:pt idx="1224" formatCode="0.00">
                  <c:v>2079.2519090791602</c:v>
                </c:pt>
                <c:pt idx="1225" formatCode="0.00">
                  <c:v>2292.28191523333</c:v>
                </c:pt>
                <c:pt idx="1226" formatCode="0.00">
                  <c:v>2187.0871952124999</c:v>
                </c:pt>
                <c:pt idx="1227" formatCode="0.00">
                  <c:v>2578.1538939624902</c:v>
                </c:pt>
                <c:pt idx="1228" formatCode="0.00">
                  <c:v>2073.3774350125</c:v>
                </c:pt>
                <c:pt idx="1229" formatCode="0.00">
                  <c:v>2368.6728615124898</c:v>
                </c:pt>
                <c:pt idx="1230" formatCode="0.00">
                  <c:v>2047.0225873166601</c:v>
                </c:pt>
                <c:pt idx="1231" formatCode="0.00">
                  <c:v>2192.4860586999898</c:v>
                </c:pt>
                <c:pt idx="1232" formatCode="0.00">
                  <c:v>1873.06487834583</c:v>
                </c:pt>
                <c:pt idx="1233" formatCode="0.00">
                  <c:v>2222.5540251458301</c:v>
                </c:pt>
                <c:pt idx="1234" formatCode="0.00">
                  <c:v>2121.8563898791599</c:v>
                </c:pt>
                <c:pt idx="1235" formatCode="0.00">
                  <c:v>2453.3169167750002</c:v>
                </c:pt>
                <c:pt idx="1236" formatCode="0.00">
                  <c:v>2205.2623963208298</c:v>
                </c:pt>
                <c:pt idx="1237" formatCode="0.00">
                  <c:v>2507.6118844083298</c:v>
                </c:pt>
                <c:pt idx="1238" formatCode="0.00">
                  <c:v>2188.4652711458298</c:v>
                </c:pt>
                <c:pt idx="1239" formatCode="0.00">
                  <c:v>2584.44164734999</c:v>
                </c:pt>
                <c:pt idx="1240" formatCode="0.00">
                  <c:v>2158.9195386124902</c:v>
                </c:pt>
                <c:pt idx="1241" formatCode="0.00">
                  <c:v>2390.7399585374901</c:v>
                </c:pt>
                <c:pt idx="1242" formatCode="0.00">
                  <c:v>2250.0891999208302</c:v>
                </c:pt>
                <c:pt idx="1243" formatCode="0.00">
                  <c:v>2573.5470409049899</c:v>
                </c:pt>
                <c:pt idx="1244" formatCode="0.00">
                  <c:v>1949.9912697541599</c:v>
                </c:pt>
                <c:pt idx="1245" formatCode="0.00">
                  <c:v>2521.4858069583302</c:v>
                </c:pt>
                <c:pt idx="1246" formatCode="0.00">
                  <c:v>2023.5993877916601</c:v>
                </c:pt>
                <c:pt idx="1247" formatCode="0.00">
                  <c:v>2372.4070769416599</c:v>
                </c:pt>
                <c:pt idx="1248" formatCode="0.00">
                  <c:v>2288.5283720166599</c:v>
                </c:pt>
                <c:pt idx="1249" formatCode="0.00">
                  <c:v>2750.9170458041599</c:v>
                </c:pt>
                <c:pt idx="1250" formatCode="0.00">
                  <c:v>2395.3668768041598</c:v>
                </c:pt>
                <c:pt idx="1251" formatCode="0.00">
                  <c:v>2506.8038927499902</c:v>
                </c:pt>
                <c:pt idx="1252" formatCode="0.00">
                  <c:v>2280.4726940291598</c:v>
                </c:pt>
                <c:pt idx="1253" formatCode="0.00">
                  <c:v>2566.9448365708299</c:v>
                </c:pt>
                <c:pt idx="1254" formatCode="0.00">
                  <c:v>2116.5523292124899</c:v>
                </c:pt>
                <c:pt idx="1255" formatCode="0.00">
                  <c:v>2461.1738193708302</c:v>
                </c:pt>
                <c:pt idx="1256" formatCode="0.00">
                  <c:v>2288.29357438332</c:v>
                </c:pt>
                <c:pt idx="1257" formatCode="0.00">
                  <c:v>2493.1580491749901</c:v>
                </c:pt>
                <c:pt idx="1258" formatCode="0.00">
                  <c:v>1997.42899145416</c:v>
                </c:pt>
                <c:pt idx="1259" formatCode="0.00">
                  <c:v>2123.2153123916601</c:v>
                </c:pt>
                <c:pt idx="1260" formatCode="0.00">
                  <c:v>1959.9531131199999</c:v>
                </c:pt>
                <c:pt idx="1261" formatCode="0.00">
                  <c:v>2364.44915055416</c:v>
                </c:pt>
                <c:pt idx="1262" formatCode="0.00">
                  <c:v>2248.0190105124898</c:v>
                </c:pt>
                <c:pt idx="1263" formatCode="0.00">
                  <c:v>2449.8866331333302</c:v>
                </c:pt>
                <c:pt idx="1264" formatCode="0.00">
                  <c:v>2096.2388598541602</c:v>
                </c:pt>
                <c:pt idx="1265" formatCode="0.00">
                  <c:v>2440.3553028374899</c:v>
                </c:pt>
                <c:pt idx="1266" formatCode="0.00">
                  <c:v>2174.9172505541601</c:v>
                </c:pt>
                <c:pt idx="1267" formatCode="0.00">
                  <c:v>2413.5105322916602</c:v>
                </c:pt>
                <c:pt idx="1268" formatCode="0.00">
                  <c:v>2185.6362948291599</c:v>
                </c:pt>
                <c:pt idx="1269" formatCode="0.00">
                  <c:v>2488.2033734500001</c:v>
                </c:pt>
                <c:pt idx="1270" formatCode="0.00">
                  <c:v>2231.6066298124902</c:v>
                </c:pt>
                <c:pt idx="1271" formatCode="0.00">
                  <c:v>2409.3805057374898</c:v>
                </c:pt>
                <c:pt idx="1272" formatCode="0.00">
                  <c:v>1921.2692918958301</c:v>
                </c:pt>
                <c:pt idx="1273" formatCode="0.00">
                  <c:v>2087.1779811166598</c:v>
                </c:pt>
                <c:pt idx="1274" formatCode="0.00">
                  <c:v>1892.1575970958299</c:v>
                </c:pt>
                <c:pt idx="1275" formatCode="0.00">
                  <c:v>2173.0139887708301</c:v>
                </c:pt>
                <c:pt idx="1276" formatCode="0.00">
                  <c:v>1895.0546239416601</c:v>
                </c:pt>
                <c:pt idx="1277" formatCode="0.00">
                  <c:v>2193.5688543291599</c:v>
                </c:pt>
                <c:pt idx="1278" formatCode="0.00">
                  <c:v>2045.4487360916601</c:v>
                </c:pt>
                <c:pt idx="1279" formatCode="0.00">
                  <c:v>2551.9848045416602</c:v>
                </c:pt>
                <c:pt idx="1280" formatCode="0.00">
                  <c:v>2031.1868413249899</c:v>
                </c:pt>
                <c:pt idx="1281" formatCode="0.00">
                  <c:v>2302.8370136041599</c:v>
                </c:pt>
                <c:pt idx="1282" formatCode="0.00">
                  <c:v>2265.20051680714</c:v>
                </c:pt>
                <c:pt idx="1283" formatCode="0.00">
                  <c:v>2274.5985309624898</c:v>
                </c:pt>
                <c:pt idx="1284" formatCode="0.00">
                  <c:v>2135.9982475583301</c:v>
                </c:pt>
                <c:pt idx="1285" formatCode="0.00">
                  <c:v>2375.1063702249899</c:v>
                </c:pt>
                <c:pt idx="1286" formatCode="0.00">
                  <c:v>2001.9841070999901</c:v>
                </c:pt>
                <c:pt idx="1287" formatCode="0.00">
                  <c:v>2222.6508015458298</c:v>
                </c:pt>
                <c:pt idx="1288" formatCode="0.00">
                  <c:v>1869.44751362083</c:v>
                </c:pt>
                <c:pt idx="1289" formatCode="0.00">
                  <c:v>2031.8905010416599</c:v>
                </c:pt>
                <c:pt idx="1290" formatCode="0.00">
                  <c:v>2070.8754603000002</c:v>
                </c:pt>
                <c:pt idx="1291" formatCode="0.00">
                  <c:v>2413.41911486249</c:v>
                </c:pt>
                <c:pt idx="1292" formatCode="0.00">
                  <c:v>2139.0103975458301</c:v>
                </c:pt>
                <c:pt idx="1293" formatCode="0.00">
                  <c:v>2448.6224742749901</c:v>
                </c:pt>
                <c:pt idx="1294" formatCode="0.00">
                  <c:v>2178.94914845416</c:v>
                </c:pt>
                <c:pt idx="1295" formatCode="0.00">
                  <c:v>2403.7327108333302</c:v>
                </c:pt>
                <c:pt idx="1296" formatCode="0.00">
                  <c:v>2120.5494546333298</c:v>
                </c:pt>
                <c:pt idx="1297" formatCode="0.00">
                  <c:v>2471.67496623749</c:v>
                </c:pt>
                <c:pt idx="1298" formatCode="0.00">
                  <c:v>2086.25206199583</c:v>
                </c:pt>
                <c:pt idx="1299" formatCode="0.00">
                  <c:v>2442.8866810416598</c:v>
                </c:pt>
                <c:pt idx="1300" formatCode="0.00">
                  <c:v>1963.9878850208299</c:v>
                </c:pt>
                <c:pt idx="1301" formatCode="0.00">
                  <c:v>2139.9399515208302</c:v>
                </c:pt>
                <c:pt idx="1302" formatCode="0.00">
                  <c:v>1766.14336092083</c:v>
                </c:pt>
                <c:pt idx="1303" formatCode="0.00">
                  <c:v>2132.2404888999999</c:v>
                </c:pt>
                <c:pt idx="1304" formatCode="0.00">
                  <c:v>2083.7589468916599</c:v>
                </c:pt>
                <c:pt idx="1305" formatCode="0.00">
                  <c:v>2341.1671416499998</c:v>
                </c:pt>
                <c:pt idx="1306" formatCode="0.00">
                  <c:v>2093.52091827916</c:v>
                </c:pt>
                <c:pt idx="1307" formatCode="0.00">
                  <c:v>2386.4904451791599</c:v>
                </c:pt>
                <c:pt idx="1308" formatCode="0.00">
                  <c:v>2032.8935772208299</c:v>
                </c:pt>
                <c:pt idx="1309" formatCode="0.00">
                  <c:v>2301.3289821916601</c:v>
                </c:pt>
                <c:pt idx="1310" formatCode="0.00">
                  <c:v>2119.0852012249902</c:v>
                </c:pt>
                <c:pt idx="1311" formatCode="0.00">
                  <c:v>2325.9137709333299</c:v>
                </c:pt>
                <c:pt idx="1312" formatCode="0.00">
                  <c:v>2009.09985255833</c:v>
                </c:pt>
                <c:pt idx="1313" formatCode="0.00">
                  <c:v>2283.4003024624899</c:v>
                </c:pt>
                <c:pt idx="1314" formatCode="0.00">
                  <c:v>1919.3676576749899</c:v>
                </c:pt>
                <c:pt idx="1315" formatCode="0.00">
                  <c:v>2286.60910756249</c:v>
                </c:pt>
                <c:pt idx="1316" formatCode="0.00">
                  <c:v>1848.7247567541599</c:v>
                </c:pt>
                <c:pt idx="1317" formatCode="0.00">
                  <c:v>2055.5258291749901</c:v>
                </c:pt>
                <c:pt idx="1318" formatCode="0.00">
                  <c:v>2065.4158662874902</c:v>
                </c:pt>
                <c:pt idx="1319" formatCode="0.00">
                  <c:v>2347.5712044791599</c:v>
                </c:pt>
                <c:pt idx="1320" formatCode="0.00">
                  <c:v>1953.4718825083301</c:v>
                </c:pt>
                <c:pt idx="1321" formatCode="0.00">
                  <c:v>2347.2038133833298</c:v>
                </c:pt>
                <c:pt idx="1322" formatCode="0.00">
                  <c:v>2089.9674572541599</c:v>
                </c:pt>
                <c:pt idx="1323" formatCode="0.00">
                  <c:v>2308.8326177374902</c:v>
                </c:pt>
                <c:pt idx="1324" formatCode="0.00">
                  <c:v>2021.69496208333</c:v>
                </c:pt>
                <c:pt idx="1325" formatCode="0.00">
                  <c:v>2344.4569725874899</c:v>
                </c:pt>
                <c:pt idx="1326" formatCode="0.00">
                  <c:v>1995.2366470833299</c:v>
                </c:pt>
                <c:pt idx="1327" formatCode="0.00">
                  <c:v>2290.1569567916599</c:v>
                </c:pt>
                <c:pt idx="1328" formatCode="0.00">
                  <c:v>1905.2592441166601</c:v>
                </c:pt>
                <c:pt idx="1329" formatCode="0.00">
                  <c:v>2075.94736607916</c:v>
                </c:pt>
                <c:pt idx="1330" formatCode="0.00">
                  <c:v>1785.0475021541599</c:v>
                </c:pt>
                <c:pt idx="1331" formatCode="0.00">
                  <c:v>2224.8661248083299</c:v>
                </c:pt>
                <c:pt idx="1332" formatCode="0.00">
                  <c:v>2128.69922132499</c:v>
                </c:pt>
                <c:pt idx="1333" formatCode="0.00">
                  <c:v>2480.6346454208301</c:v>
                </c:pt>
                <c:pt idx="1334" formatCode="0.00">
                  <c:v>2124.5476204874999</c:v>
                </c:pt>
                <c:pt idx="1335" formatCode="0.00">
                  <c:v>2571.44064713749</c:v>
                </c:pt>
                <c:pt idx="1336" formatCode="0.00">
                  <c:v>2217.5268075249901</c:v>
                </c:pt>
                <c:pt idx="1337" formatCode="0.00">
                  <c:v>2683.7011060749901</c:v>
                </c:pt>
                <c:pt idx="1338" formatCode="0.00">
                  <c:v>2215.4528255416599</c:v>
                </c:pt>
                <c:pt idx="1339" formatCode="0.00">
                  <c:v>2554.6916965374899</c:v>
                </c:pt>
                <c:pt idx="1340" formatCode="0.00">
                  <c:v>2151.4010383208301</c:v>
                </c:pt>
                <c:pt idx="1341" formatCode="0.00">
                  <c:v>2318.9251723624898</c:v>
                </c:pt>
                <c:pt idx="1342" formatCode="0.00">
                  <c:v>1916.7523576624901</c:v>
                </c:pt>
                <c:pt idx="1343" formatCode="0.00">
                  <c:v>2233.5855653583299</c:v>
                </c:pt>
                <c:pt idx="1344" formatCode="0.00">
                  <c:v>1842.9941724181799</c:v>
                </c:pt>
                <c:pt idx="1345" formatCode="0.00">
                  <c:v>2396.8332543874999</c:v>
                </c:pt>
                <c:pt idx="1346" formatCode="0.00">
                  <c:v>2408.6852115666602</c:v>
                </c:pt>
                <c:pt idx="1347" formatCode="0.00">
                  <c:v>2942.7936255916602</c:v>
                </c:pt>
                <c:pt idx="1348" formatCode="0.00">
                  <c:v>2237.4565533958298</c:v>
                </c:pt>
                <c:pt idx="1349" formatCode="0.00">
                  <c:v>2495.2396494291602</c:v>
                </c:pt>
                <c:pt idx="1350" formatCode="0.00">
                  <c:v>2130.4837477833298</c:v>
                </c:pt>
                <c:pt idx="1351" formatCode="0.00">
                  <c:v>2358.7742951124901</c:v>
                </c:pt>
                <c:pt idx="1352" formatCode="0.00">
                  <c:v>2085.4095028833299</c:v>
                </c:pt>
                <c:pt idx="1353" formatCode="0.00">
                  <c:v>2406.06192685</c:v>
                </c:pt>
                <c:pt idx="1354" formatCode="0.00">
                  <c:v>2127.6195419083301</c:v>
                </c:pt>
                <c:pt idx="1355" formatCode="0.00">
                  <c:v>2560.4690787166601</c:v>
                </c:pt>
                <c:pt idx="1356" formatCode="0.00">
                  <c:v>1850.07687563749</c:v>
                </c:pt>
                <c:pt idx="1357" formatCode="0.00">
                  <c:v>2426.7125137999901</c:v>
                </c:pt>
                <c:pt idx="1358" formatCode="0.00">
                  <c:v>1944.93938328749</c:v>
                </c:pt>
                <c:pt idx="1359" formatCode="0.00">
                  <c:v>2505.62112916666</c:v>
                </c:pt>
                <c:pt idx="1360" formatCode="0.00">
                  <c:v>2269.7310178791599</c:v>
                </c:pt>
                <c:pt idx="1361" formatCode="0.00">
                  <c:v>2653.8419085916598</c:v>
                </c:pt>
                <c:pt idx="1362" formatCode="0.00">
                  <c:v>2142.6655492416598</c:v>
                </c:pt>
                <c:pt idx="1363" formatCode="0.00">
                  <c:v>2586.2336037499899</c:v>
                </c:pt>
                <c:pt idx="1364" formatCode="0.00">
                  <c:v>2057.5499015749901</c:v>
                </c:pt>
                <c:pt idx="1365" formatCode="0.00">
                  <c:v>2420.3933309416602</c:v>
                </c:pt>
                <c:pt idx="1366" formatCode="0.00">
                  <c:v>2060.3646132583299</c:v>
                </c:pt>
                <c:pt idx="1367" formatCode="0.00">
                  <c:v>2679.9089147124901</c:v>
                </c:pt>
                <c:pt idx="1368" formatCode="0.00">
                  <c:v>2216.1711631458302</c:v>
                </c:pt>
                <c:pt idx="1369" formatCode="0.00">
                  <c:v>2859.29657275416</c:v>
                </c:pt>
                <c:pt idx="1370" formatCode="0.00">
                  <c:v>2109.5862018166599</c:v>
                </c:pt>
                <c:pt idx="1371" formatCode="0.00">
                  <c:v>2827.9392348166598</c:v>
                </c:pt>
                <c:pt idx="1372" formatCode="0.00">
                  <c:v>2155.9553043333199</c:v>
                </c:pt>
                <c:pt idx="1373" formatCode="0.00">
                  <c:v>2406.6276335666598</c:v>
                </c:pt>
                <c:pt idx="1374" formatCode="0.00">
                  <c:v>2279.2814025999901</c:v>
                </c:pt>
                <c:pt idx="1375" formatCode="0.00">
                  <c:v>2478.70375900416</c:v>
                </c:pt>
                <c:pt idx="1376" formatCode="0.00">
                  <c:v>2198.4836424888799</c:v>
                </c:pt>
                <c:pt idx="1377" formatCode="0.00">
                  <c:v>2294.2215229999902</c:v>
                </c:pt>
                <c:pt idx="1378" formatCode="0.00">
                  <c:v>2159.42412805714</c:v>
                </c:pt>
                <c:pt idx="1379" formatCode="0.00">
                  <c:v>2379.47266078749</c:v>
                </c:pt>
                <c:pt idx="1380" formatCode="0.00">
                  <c:v>2352.6478747687402</c:v>
                </c:pt>
                <c:pt idx="1381" formatCode="0.00">
                  <c:v>2646.2014103333299</c:v>
                </c:pt>
                <c:pt idx="1382" formatCode="0.00">
                  <c:v>2272.50585269166</c:v>
                </c:pt>
                <c:pt idx="1383" formatCode="0.00">
                  <c:v>2652.7158889541602</c:v>
                </c:pt>
                <c:pt idx="1384" formatCode="0.00">
                  <c:v>2005.0910042666601</c:v>
                </c:pt>
                <c:pt idx="1385" formatCode="0.00">
                  <c:v>2234.64248065416</c:v>
                </c:pt>
                <c:pt idx="1386" formatCode="0.00">
                  <c:v>1864.3924599833299</c:v>
                </c:pt>
                <c:pt idx="1387" formatCode="0.00">
                  <c:v>2024.61291038333</c:v>
                </c:pt>
                <c:pt idx="1388" formatCode="0.00">
                  <c:v>2005.26518903749</c:v>
                </c:pt>
                <c:pt idx="1389" formatCode="0.00">
                  <c:v>2374.9275914636301</c:v>
                </c:pt>
                <c:pt idx="1390" formatCode="0.00">
                  <c:v>2211.1820126428502</c:v>
                </c:pt>
                <c:pt idx="1391" formatCode="0.00">
                  <c:v>2294.1619328166598</c:v>
                </c:pt>
                <c:pt idx="1392" formatCode="0.00">
                  <c:v>2257.7592412888798</c:v>
                </c:pt>
                <c:pt idx="1393" formatCode="0.00">
                  <c:v>2585.15837254999</c:v>
                </c:pt>
                <c:pt idx="1394" formatCode="0.00">
                  <c:v>2375.3230907249999</c:v>
                </c:pt>
                <c:pt idx="1395" formatCode="0.00">
                  <c:v>2790.3557368124998</c:v>
                </c:pt>
                <c:pt idx="1396" formatCode="0.00">
                  <c:v>2180.8448973541599</c:v>
                </c:pt>
                <c:pt idx="1397" formatCode="0.00">
                  <c:v>2363.5114587958301</c:v>
                </c:pt>
                <c:pt idx="1398" formatCode="0.00">
                  <c:v>1955.8362672041601</c:v>
                </c:pt>
                <c:pt idx="1399" formatCode="0.00">
                  <c:v>2182.4259742499898</c:v>
                </c:pt>
                <c:pt idx="1400" formatCode="0.00">
                  <c:v>1895.8564256833299</c:v>
                </c:pt>
                <c:pt idx="1401" formatCode="0.00">
                  <c:v>2189.5764108874901</c:v>
                </c:pt>
                <c:pt idx="1402" formatCode="0.00">
                  <c:v>2183.9110040708301</c:v>
                </c:pt>
                <c:pt idx="1403" formatCode="0.00">
                  <c:v>2385.10862179999</c:v>
                </c:pt>
                <c:pt idx="1404" formatCode="0.00">
                  <c:v>2154.4983601099898</c:v>
                </c:pt>
                <c:pt idx="1405" formatCode="0.00">
                  <c:v>2305.9135916333298</c:v>
                </c:pt>
                <c:pt idx="1406" formatCode="0.00">
                  <c:v>2196.01977080999</c:v>
                </c:pt>
                <c:pt idx="1407" formatCode="0.00">
                  <c:v>2522.4646424208299</c:v>
                </c:pt>
                <c:pt idx="1408" formatCode="0.00">
                  <c:v>2208.3186528055498</c:v>
                </c:pt>
                <c:pt idx="1409" formatCode="0.00">
                  <c:v>2698.2957979499902</c:v>
                </c:pt>
                <c:pt idx="1410" formatCode="0.00">
                  <c:v>2409.15837637083</c:v>
                </c:pt>
                <c:pt idx="1411" formatCode="0.00">
                  <c:v>2971.8434390499901</c:v>
                </c:pt>
                <c:pt idx="1412" formatCode="0.00">
                  <c:v>2197.7155545416599</c:v>
                </c:pt>
                <c:pt idx="1413" formatCode="0.00">
                  <c:v>2426.7325211499901</c:v>
                </c:pt>
                <c:pt idx="1414" formatCode="0.00">
                  <c:v>1917.03239828749</c:v>
                </c:pt>
                <c:pt idx="1415" formatCode="0.00">
                  <c:v>2237.1392458958298</c:v>
                </c:pt>
                <c:pt idx="1416" formatCode="0.00">
                  <c:v>2091.6083745166602</c:v>
                </c:pt>
                <c:pt idx="1417" formatCode="0.00">
                  <c:v>2455.1946747249899</c:v>
                </c:pt>
                <c:pt idx="1418" formatCode="0.00">
                  <c:v>2079.37890237083</c:v>
                </c:pt>
                <c:pt idx="1419" formatCode="0.00">
                  <c:v>2727.84421164166</c:v>
                </c:pt>
                <c:pt idx="1420" formatCode="0.00">
                  <c:v>2275.3221316999902</c:v>
                </c:pt>
                <c:pt idx="1421" formatCode="0.00">
                  <c:v>2934.10397338333</c:v>
                </c:pt>
                <c:pt idx="1422" formatCode="0.00">
                  <c:v>2528.1358425708299</c:v>
                </c:pt>
                <c:pt idx="1423" formatCode="0.00">
                  <c:v>3237.7991635416602</c:v>
                </c:pt>
                <c:pt idx="1424" formatCode="0.00">
                  <c:v>2579.88358816249</c:v>
                </c:pt>
                <c:pt idx="1425" formatCode="0.00">
                  <c:v>3354.06702878333</c:v>
                </c:pt>
                <c:pt idx="1426" formatCode="0.00">
                  <c:v>2559.6294510166599</c:v>
                </c:pt>
                <c:pt idx="1427" formatCode="0.00">
                  <c:v>3264.2371815874999</c:v>
                </c:pt>
                <c:pt idx="1428" formatCode="0.00">
                  <c:v>2490.9887963749902</c:v>
                </c:pt>
                <c:pt idx="1429" formatCode="0.00">
                  <c:v>3251.3771467833299</c:v>
                </c:pt>
                <c:pt idx="1430" formatCode="0.00">
                  <c:v>2665.4244438291598</c:v>
                </c:pt>
                <c:pt idx="1431" formatCode="0.00">
                  <c:v>3741.0290686124899</c:v>
                </c:pt>
                <c:pt idx="1432" formatCode="0.00">
                  <c:v>2649.4351034708302</c:v>
                </c:pt>
                <c:pt idx="1433" formatCode="0.00">
                  <c:v>2959.3260986374898</c:v>
                </c:pt>
                <c:pt idx="1434" formatCode="0.00">
                  <c:v>2373.5209118875</c:v>
                </c:pt>
                <c:pt idx="1435" formatCode="0.00">
                  <c:v>2643.75417673333</c:v>
                </c:pt>
                <c:pt idx="1436" formatCode="0.00">
                  <c:v>2349.5559309416599</c:v>
                </c:pt>
                <c:pt idx="1437" formatCode="0.00">
                  <c:v>2650.2210921333299</c:v>
                </c:pt>
                <c:pt idx="1438" formatCode="0.00">
                  <c:v>2229.1072341291601</c:v>
                </c:pt>
                <c:pt idx="1439" formatCode="0.00">
                  <c:v>2575.2386780583302</c:v>
                </c:pt>
                <c:pt idx="1440" formatCode="0.00">
                  <c:v>2011.6750117916599</c:v>
                </c:pt>
                <c:pt idx="1441" formatCode="0.00">
                  <c:v>2307.4126483291602</c:v>
                </c:pt>
                <c:pt idx="1442" formatCode="0.00">
                  <c:v>1953.2140380416599</c:v>
                </c:pt>
                <c:pt idx="1443" formatCode="0.00">
                  <c:v>2361.0739734083299</c:v>
                </c:pt>
                <c:pt idx="1444" formatCode="0.00">
                  <c:v>2209.59354426666</c:v>
                </c:pt>
                <c:pt idx="1445" formatCode="0.00">
                  <c:v>2695.2328788791601</c:v>
                </c:pt>
                <c:pt idx="1446" formatCode="0.00">
                  <c:v>2273.2429503499998</c:v>
                </c:pt>
                <c:pt idx="1447" formatCode="0.00">
                  <c:v>2567.2627502791602</c:v>
                </c:pt>
                <c:pt idx="1448" formatCode="0.00">
                  <c:v>2067.9224790958301</c:v>
                </c:pt>
                <c:pt idx="1449" formatCode="0.00">
                  <c:v>2223.43608991666</c:v>
                </c:pt>
                <c:pt idx="1450" formatCode="0.00">
                  <c:v>1903.0920479833301</c:v>
                </c:pt>
                <c:pt idx="1451" formatCode="0.00">
                  <c:v>2306.4151266624899</c:v>
                </c:pt>
                <c:pt idx="1452" formatCode="0.00">
                  <c:v>2159.7068845916601</c:v>
                </c:pt>
                <c:pt idx="1453" formatCode="0.00">
                  <c:v>2454.2576683458301</c:v>
                </c:pt>
                <c:pt idx="1454" formatCode="0.00">
                  <c:v>2020.5694791727201</c:v>
                </c:pt>
                <c:pt idx="1455" formatCode="0.00">
                  <c:v>2363.03645631666</c:v>
                </c:pt>
                <c:pt idx="1456" formatCode="0.00">
                  <c:v>1970.46141897499</c:v>
                </c:pt>
                <c:pt idx="1457" formatCode="0.00">
                  <c:v>2549.5566624166599</c:v>
                </c:pt>
                <c:pt idx="1458" formatCode="0.00">
                  <c:v>2301.8357706833299</c:v>
                </c:pt>
                <c:pt idx="1459" formatCode="0.00">
                  <c:v>2660.8662708624902</c:v>
                </c:pt>
                <c:pt idx="1460" formatCode="0.00">
                  <c:v>2197.6303354583301</c:v>
                </c:pt>
                <c:pt idx="1461" formatCode="0.00">
                  <c:v>2379.96887625416</c:v>
                </c:pt>
              </c:numCache>
            </c:numRef>
          </c:yVal>
          <c:smooth val="0"/>
          <c:extLst>
            <c:ext xmlns:c16="http://schemas.microsoft.com/office/drawing/2014/chart" uri="{C3380CC4-5D6E-409C-BE32-E72D297353CC}">
              <c16:uniqueId val="{00000000-9C9D-5047-94A7-CE551C72C5FF}"/>
            </c:ext>
          </c:extLst>
        </c:ser>
        <c:dLbls>
          <c:showLegendKey val="0"/>
          <c:showVal val="0"/>
          <c:showCatName val="0"/>
          <c:showSerName val="0"/>
          <c:showPercent val="0"/>
          <c:showBubbleSize val="0"/>
        </c:dLbls>
        <c:axId val="334516256"/>
        <c:axId val="334960544"/>
      </c:scatterChart>
      <c:valAx>
        <c:axId val="334516256"/>
        <c:scaling>
          <c:orientation val="minMax"/>
          <c:max val="200"/>
        </c:scaling>
        <c:delete val="0"/>
        <c:axPos val="b"/>
        <c:majorGridlines>
          <c:spPr>
            <a:ln w="9525" cap="flat" cmpd="sng" algn="ctr">
              <a:solidFill>
                <a:schemeClr val="tx1">
                  <a:lumMod val="15000"/>
                  <a:lumOff val="85000"/>
                </a:schemeClr>
              </a:solidFill>
              <a:round/>
            </a:ln>
            <a:effectLst/>
          </c:spPr>
        </c:majorGridlines>
        <c:numFmt formatCode="[$$-409]#,##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4960544"/>
        <c:crosses val="autoZero"/>
        <c:crossBetween val="midCat"/>
      </c:valAx>
      <c:valAx>
        <c:axId val="334960544"/>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451625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4643901840392845E-2"/>
          <c:y val="0.10328183829248976"/>
          <c:w val="0.92697839550402206"/>
          <c:h val="0.79739162536193109"/>
        </c:manualLayout>
      </c:layout>
      <c:lineChart>
        <c:grouping val="standard"/>
        <c:varyColors val="0"/>
        <c:ser>
          <c:idx val="0"/>
          <c:order val="0"/>
          <c:tx>
            <c:strRef>
              <c:f>'Data Preparation'!$C$1</c:f>
              <c:strCache>
                <c:ptCount val="1"/>
                <c:pt idx="0">
                  <c:v>Volumetric Flow Meter 1</c:v>
                </c:pt>
              </c:strCache>
            </c:strRef>
          </c:tx>
          <c:spPr>
            <a:ln w="28575" cap="rnd">
              <a:solidFill>
                <a:schemeClr val="accent1"/>
              </a:solidFill>
              <a:round/>
            </a:ln>
            <a:effectLst/>
          </c:spPr>
          <c:marker>
            <c:symbol val="none"/>
          </c:marker>
          <c:val>
            <c:numRef>
              <c:f>'Data Preparation'!$C$2:$C$2455</c:f>
              <c:numCache>
                <c:formatCode>#,##0.00</c:formatCode>
                <c:ptCount val="2454"/>
                <c:pt idx="0" formatCode="0.0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2276-AC41-BC67-B6CD3F8F87CA}"/>
            </c:ext>
          </c:extLst>
        </c:ser>
        <c:ser>
          <c:idx val="1"/>
          <c:order val="1"/>
          <c:tx>
            <c:strRef>
              <c:f>'Data Preparation'!$D$1</c:f>
              <c:strCache>
                <c:ptCount val="1"/>
                <c:pt idx="0">
                  <c:v>Volumetric Flow Meter 2</c:v>
                </c:pt>
              </c:strCache>
            </c:strRef>
          </c:tx>
          <c:spPr>
            <a:ln w="28575" cap="rnd">
              <a:solidFill>
                <a:schemeClr val="accent6">
                  <a:lumMod val="75000"/>
                </a:schemeClr>
              </a:solidFill>
              <a:round/>
            </a:ln>
            <a:effectLst/>
          </c:spPr>
          <c:marker>
            <c:symbol val="none"/>
          </c:marker>
          <c:val>
            <c:numRef>
              <c:f>'Data Preparation'!$D$2:$D$2455</c:f>
              <c:numCache>
                <c:formatCode>#,##0.00</c:formatCode>
                <c:ptCount val="2454"/>
                <c:pt idx="0" formatCode="0.0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2276-AC41-BC67-B6CD3F8F87CA}"/>
            </c:ext>
          </c:extLst>
        </c:ser>
        <c:ser>
          <c:idx val="2"/>
          <c:order val="2"/>
          <c:tx>
            <c:strRef>
              <c:f>'Data Preparation'!$E$1</c:f>
              <c:strCache>
                <c:ptCount val="1"/>
                <c:pt idx="0">
                  <c:v>Pump Speed (RPM)</c:v>
                </c:pt>
              </c:strCache>
            </c:strRef>
          </c:tx>
          <c:spPr>
            <a:ln w="28575" cap="rnd">
              <a:solidFill>
                <a:schemeClr val="accent3"/>
              </a:solidFill>
              <a:round/>
            </a:ln>
            <a:effectLst/>
          </c:spPr>
          <c:marker>
            <c:symbol val="none"/>
          </c:marker>
          <c:val>
            <c:numRef>
              <c:f>'Data Preparation'!$E$2:$E$2455</c:f>
              <c:numCache>
                <c:formatCode>#,##0.00</c:formatCode>
                <c:ptCount val="2454"/>
                <c:pt idx="0" formatCode="0.0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2276-AC41-BC67-B6CD3F8F87CA}"/>
            </c:ext>
          </c:extLst>
        </c:ser>
        <c:ser>
          <c:idx val="3"/>
          <c:order val="3"/>
          <c:tx>
            <c:strRef>
              <c:f>'Data Preparation'!$F$1</c:f>
              <c:strCache>
                <c:ptCount val="1"/>
                <c:pt idx="0">
                  <c:v>Pump Torque </c:v>
                </c:pt>
              </c:strCache>
            </c:strRef>
          </c:tx>
          <c:spPr>
            <a:ln w="28575" cap="rnd">
              <a:solidFill>
                <a:schemeClr val="accent4"/>
              </a:solidFill>
              <a:round/>
            </a:ln>
            <a:effectLst/>
          </c:spPr>
          <c:marker>
            <c:symbol val="none"/>
          </c:marker>
          <c:val>
            <c:numRef>
              <c:f>'Data Preparation'!$F$2:$F$2455</c:f>
              <c:numCache>
                <c:formatCode>#,##0.00</c:formatCode>
                <c:ptCount val="2454"/>
                <c:pt idx="0" formatCode="0.0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2276-AC41-BC67-B6CD3F8F87CA}"/>
            </c:ext>
          </c:extLst>
        </c:ser>
        <c:ser>
          <c:idx val="4"/>
          <c:order val="4"/>
          <c:tx>
            <c:strRef>
              <c:f>'Data Preparation'!$G$1</c:f>
              <c:strCache>
                <c:ptCount val="1"/>
                <c:pt idx="0">
                  <c:v>Ambient Temperature</c:v>
                </c:pt>
              </c:strCache>
            </c:strRef>
          </c:tx>
          <c:spPr>
            <a:ln w="28575" cap="rnd">
              <a:solidFill>
                <a:schemeClr val="accent5"/>
              </a:solidFill>
              <a:round/>
            </a:ln>
            <a:effectLst/>
          </c:spPr>
          <c:marker>
            <c:symbol val="none"/>
          </c:marker>
          <c:val>
            <c:numRef>
              <c:f>'Data Preparation'!$G$2:$G$2455</c:f>
              <c:numCache>
                <c:formatCode>#,##0.00</c:formatCode>
                <c:ptCount val="2454"/>
                <c:pt idx="0" formatCode="0.0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2276-AC41-BC67-B6CD3F8F87CA}"/>
            </c:ext>
          </c:extLst>
        </c:ser>
        <c:ser>
          <c:idx val="6"/>
          <c:order val="6"/>
          <c:tx>
            <c:strRef>
              <c:f>'Data Preparation'!$I$1</c:f>
              <c:strCache>
                <c:ptCount val="1"/>
                <c:pt idx="0">
                  <c:v>Pump Efficiency</c:v>
                </c:pt>
              </c:strCache>
            </c:strRef>
          </c:tx>
          <c:spPr>
            <a:ln w="28575" cap="rnd">
              <a:solidFill>
                <a:schemeClr val="accent1">
                  <a:lumMod val="60000"/>
                </a:schemeClr>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2276-AC41-BC67-B6CD3F8F87CA}"/>
            </c:ext>
          </c:extLst>
        </c:ser>
        <c:dLbls>
          <c:showLegendKey val="0"/>
          <c:showVal val="0"/>
          <c:showCatName val="0"/>
          <c:showSerName val="0"/>
          <c:showPercent val="0"/>
          <c:showBubbleSize val="0"/>
        </c:dLbls>
        <c:marker val="1"/>
        <c:smooth val="0"/>
        <c:axId val="1197697455"/>
        <c:axId val="1197731775"/>
      </c:lineChart>
      <c:lineChart>
        <c:grouping val="standard"/>
        <c:varyColors val="0"/>
        <c:ser>
          <c:idx val="5"/>
          <c:order val="5"/>
          <c:tx>
            <c:strRef>
              <c:f>'Data Preparation'!$H$1</c:f>
              <c:strCache>
                <c:ptCount val="1"/>
                <c:pt idx="0">
                  <c:v>Horse Power</c:v>
                </c:pt>
              </c:strCache>
            </c:strRef>
          </c:tx>
          <c:spPr>
            <a:ln w="28575" cap="rnd">
              <a:solidFill>
                <a:srgbClr val="7030A0"/>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2276-AC41-BC67-B6CD3F8F87CA}"/>
            </c:ext>
          </c:extLst>
        </c:ser>
        <c:ser>
          <c:idx val="7"/>
          <c:order val="7"/>
          <c:tx>
            <c:strRef>
              <c:f>'Data Preparation'!$J$1</c:f>
              <c:strCache>
                <c:ptCount val="1"/>
                <c:pt idx="0">
                  <c:v>PUMP FAILURE (1 or 0)</c:v>
                </c:pt>
              </c:strCache>
            </c:strRef>
          </c:tx>
          <c:spPr>
            <a:ln w="63500" cap="rnd">
              <a:solidFill>
                <a:srgbClr val="FF0000"/>
              </a:solidFill>
              <a:prstDash val="solid"/>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2276-AC41-BC67-B6CD3F8F87CA}"/>
            </c:ext>
          </c:extLst>
        </c:ser>
        <c:ser>
          <c:idx val="8"/>
          <c:order val="8"/>
          <c:tx>
            <c:strRef>
              <c:f>'Data Preparation'!$K$1</c:f>
              <c:strCache>
                <c:ptCount val="1"/>
                <c:pt idx="0">
                  <c:v>Regressive Equation</c:v>
                </c:pt>
              </c:strCache>
            </c:strRef>
          </c:tx>
          <c:spPr>
            <a:ln w="28575" cap="rnd">
              <a:solidFill>
                <a:srgbClr val="C00000"/>
              </a:solidFill>
              <a:round/>
            </a:ln>
            <a:effectLst/>
          </c:spPr>
          <c:marker>
            <c:symbol val="none"/>
          </c:marker>
          <c:val>
            <c:numRef>
              <c:f>'Data Preparation'!$K$2:$K$2455</c:f>
              <c:numCache>
                <c:formatCode>0.00</c:formatCode>
                <c:ptCount val="2454"/>
                <c:pt idx="0">
                  <c:v>0.87554459501238169</c:v>
                </c:pt>
                <c:pt idx="1">
                  <c:v>0.90842794508802549</c:v>
                </c:pt>
                <c:pt idx="2">
                  <c:v>0.92037880548802464</c:v>
                </c:pt>
                <c:pt idx="3">
                  <c:v>0.93320598753872375</c:v>
                </c:pt>
                <c:pt idx="4">
                  <c:v>0.94206691016845578</c:v>
                </c:pt>
                <c:pt idx="5">
                  <c:v>0.93404600227092738</c:v>
                </c:pt>
                <c:pt idx="6">
                  <c:v>0.95236430245254367</c:v>
                </c:pt>
                <c:pt idx="7">
                  <c:v>0.94467347800714463</c:v>
                </c:pt>
                <c:pt idx="8">
                  <c:v>0.94575702983227061</c:v>
                </c:pt>
                <c:pt idx="9">
                  <c:v>0.94365355526977246</c:v>
                </c:pt>
                <c:pt idx="10">
                  <c:v>0.91652315251321737</c:v>
                </c:pt>
                <c:pt idx="11">
                  <c:v>0.8934197522483367</c:v>
                </c:pt>
                <c:pt idx="12">
                  <c:v>0.92698661136549165</c:v>
                </c:pt>
                <c:pt idx="13">
                  <c:v>0.92462287906590013</c:v>
                </c:pt>
                <c:pt idx="14">
                  <c:v>0.90614699404663757</c:v>
                </c:pt>
                <c:pt idx="15">
                  <c:v>0.90458515806928319</c:v>
                </c:pt>
                <c:pt idx="16">
                  <c:v>0.89194523461918696</c:v>
                </c:pt>
                <c:pt idx="17">
                  <c:v>0.93652120274332695</c:v>
                </c:pt>
                <c:pt idx="18">
                  <c:v>0.96452984402939701</c:v>
                </c:pt>
                <c:pt idx="19">
                  <c:v>0.94318923860413539</c:v>
                </c:pt>
                <c:pt idx="20">
                  <c:v>0.96269917592274612</c:v>
                </c:pt>
                <c:pt idx="21">
                  <c:v>1.0149751267828331</c:v>
                </c:pt>
                <c:pt idx="22">
                  <c:v>1.0230071050968976</c:v>
                </c:pt>
                <c:pt idx="23">
                  <c:v>0.98894258132754098</c:v>
                </c:pt>
                <c:pt idx="24">
                  <c:v>1.0162420911531804</c:v>
                </c:pt>
                <c:pt idx="25">
                  <c:v>1.0132215815486436</c:v>
                </c:pt>
                <c:pt idx="26">
                  <c:v>1.0360330555393258</c:v>
                </c:pt>
                <c:pt idx="27">
                  <c:v>1.0217875473795879</c:v>
                </c:pt>
                <c:pt idx="28">
                  <c:v>1.0261826477160592</c:v>
                </c:pt>
                <c:pt idx="29">
                  <c:v>1.014460693669812</c:v>
                </c:pt>
                <c:pt idx="30">
                  <c:v>1.0272174959238136</c:v>
                </c:pt>
                <c:pt idx="31">
                  <c:v>1.0162950186639645</c:v>
                </c:pt>
                <c:pt idx="32">
                  <c:v>1.0335112201434451</c:v>
                </c:pt>
                <c:pt idx="33">
                  <c:v>1.0293501630179005</c:v>
                </c:pt>
                <c:pt idx="34">
                  <c:v>1.0295560632406533</c:v>
                </c:pt>
                <c:pt idx="35">
                  <c:v>1.0797660577867427</c:v>
                </c:pt>
                <c:pt idx="36">
                  <c:v>1.0695623912046459</c:v>
                </c:pt>
                <c:pt idx="37">
                  <c:v>1.0672052210191021</c:v>
                </c:pt>
                <c:pt idx="38">
                  <c:v>1.1036717898446466</c:v>
                </c:pt>
                <c:pt idx="39">
                  <c:v>1.1148398173864635</c:v>
                </c:pt>
                <c:pt idx="40">
                  <c:v>1.1090370349197296</c:v>
                </c:pt>
                <c:pt idx="41">
                  <c:v>1.1082240646545964</c:v>
                </c:pt>
                <c:pt idx="42">
                  <c:v>1.0593271570117888</c:v>
                </c:pt>
                <c:pt idx="43">
                  <c:v>1.05000767400471</c:v>
                </c:pt>
                <c:pt idx="44">
                  <c:v>1.049380259410579</c:v>
                </c:pt>
                <c:pt idx="45">
                  <c:v>1.0843934309225933</c:v>
                </c:pt>
                <c:pt idx="46">
                  <c:v>1.0606112895343645</c:v>
                </c:pt>
                <c:pt idx="47">
                  <c:v>1.0319982193295021</c:v>
                </c:pt>
                <c:pt idx="48">
                  <c:v>1.0239830093232303</c:v>
                </c:pt>
                <c:pt idx="49">
                  <c:v>1.0373007534194336</c:v>
                </c:pt>
                <c:pt idx="50">
                  <c:v>1.0414126203103016</c:v>
                </c:pt>
                <c:pt idx="51">
                  <c:v>1.018519344905384</c:v>
                </c:pt>
                <c:pt idx="52">
                  <c:v>1.0291796457348534</c:v>
                </c:pt>
                <c:pt idx="53">
                  <c:v>1.0283116828230661</c:v>
                </c:pt>
                <c:pt idx="54">
                  <c:v>1.0118057054397458</c:v>
                </c:pt>
                <c:pt idx="55">
                  <c:v>1.0607330217032656</c:v>
                </c:pt>
                <c:pt idx="56">
                  <c:v>1.0250130602467136</c:v>
                </c:pt>
                <c:pt idx="57">
                  <c:v>1.0221669373485265</c:v>
                </c:pt>
                <c:pt idx="58">
                  <c:v>1.0025196309841058</c:v>
                </c:pt>
                <c:pt idx="59">
                  <c:v>1.0510871056728468</c:v>
                </c:pt>
                <c:pt idx="60">
                  <c:v>1.049012060740637</c:v>
                </c:pt>
                <c:pt idx="61">
                  <c:v>1.0396956245011504</c:v>
                </c:pt>
                <c:pt idx="62">
                  <c:v>0.99859567587514753</c:v>
                </c:pt>
                <c:pt idx="63">
                  <c:v>1.0165603187653567</c:v>
                </c:pt>
                <c:pt idx="64">
                  <c:v>1.0362541556603135</c:v>
                </c:pt>
                <c:pt idx="65">
                  <c:v>0.98739707462779736</c:v>
                </c:pt>
                <c:pt idx="66">
                  <c:v>0.95147472797727306</c:v>
                </c:pt>
                <c:pt idx="67">
                  <c:v>0.95974394534692187</c:v>
                </c:pt>
                <c:pt idx="68">
                  <c:v>0.93889122749521325</c:v>
                </c:pt>
                <c:pt idx="69">
                  <c:v>0.93831603191313495</c:v>
                </c:pt>
                <c:pt idx="70">
                  <c:v>0.96513849369315285</c:v>
                </c:pt>
                <c:pt idx="71">
                  <c:v>0.99878371842375913</c:v>
                </c:pt>
                <c:pt idx="72">
                  <c:v>1.0264104576289519</c:v>
                </c:pt>
                <c:pt idx="73">
                  <c:v>1.0215116897385104</c:v>
                </c:pt>
                <c:pt idx="74">
                  <c:v>1.0058369647469318</c:v>
                </c:pt>
                <c:pt idx="75">
                  <c:v>1.0012469203620538</c:v>
                </c:pt>
                <c:pt idx="76">
                  <c:v>1.0088496503737301</c:v>
                </c:pt>
                <c:pt idx="77">
                  <c:v>0.98528430333429173</c:v>
                </c:pt>
                <c:pt idx="78">
                  <c:v>0.95184265417182101</c:v>
                </c:pt>
                <c:pt idx="79">
                  <c:v>0.9496180694935592</c:v>
                </c:pt>
                <c:pt idx="80">
                  <c:v>0.92661150797324465</c:v>
                </c:pt>
                <c:pt idx="81">
                  <c:v>0.96294694144547743</c:v>
                </c:pt>
                <c:pt idx="82">
                  <c:v>0.96808500763310534</c:v>
                </c:pt>
                <c:pt idx="83">
                  <c:v>0.99953029117912218</c:v>
                </c:pt>
                <c:pt idx="84">
                  <c:v>1.0354393478458976</c:v>
                </c:pt>
                <c:pt idx="85">
                  <c:v>1.0234512726358123</c:v>
                </c:pt>
                <c:pt idx="86">
                  <c:v>1.0361091130638713</c:v>
                </c:pt>
                <c:pt idx="87">
                  <c:v>1.0550614157020894</c:v>
                </c:pt>
                <c:pt idx="88">
                  <c:v>1.0830490720535217</c:v>
                </c:pt>
                <c:pt idx="89">
                  <c:v>1.0540653210168065</c:v>
                </c:pt>
                <c:pt idx="90">
                  <c:v>1.0427993225764673</c:v>
                </c:pt>
                <c:pt idx="91">
                  <c:v>1.0470508688902276</c:v>
                </c:pt>
                <c:pt idx="92">
                  <c:v>1.081035427956982</c:v>
                </c:pt>
                <c:pt idx="93">
                  <c:v>1.1030322848357661</c:v>
                </c:pt>
                <c:pt idx="94">
                  <c:v>1.1112611339218341</c:v>
                </c:pt>
                <c:pt idx="95">
                  <c:v>1.1102474426686941</c:v>
                </c:pt>
                <c:pt idx="96">
                  <c:v>1.144540398549488</c:v>
                </c:pt>
                <c:pt idx="97">
                  <c:v>1.1445096093088913</c:v>
                </c:pt>
                <c:pt idx="98">
                  <c:v>1.110244990849399</c:v>
                </c:pt>
                <c:pt idx="99">
                  <c:v>1.1299241810868688</c:v>
                </c:pt>
                <c:pt idx="100">
                  <c:v>1.1344188500576304</c:v>
                </c:pt>
                <c:pt idx="101">
                  <c:v>1.1414079242492305</c:v>
                </c:pt>
                <c:pt idx="102">
                  <c:v>1.1605080306357418</c:v>
                </c:pt>
                <c:pt idx="103">
                  <c:v>1.1937123380647388</c:v>
                </c:pt>
                <c:pt idx="104">
                  <c:v>1.2249011772024303</c:v>
                </c:pt>
                <c:pt idx="105">
                  <c:v>1.2079330200158134</c:v>
                </c:pt>
                <c:pt idx="106">
                  <c:v>1.2067667318524953</c:v>
                </c:pt>
                <c:pt idx="107">
                  <c:v>1.1953580333169738</c:v>
                </c:pt>
                <c:pt idx="108">
                  <c:v>1.201086112128144</c:v>
                </c:pt>
                <c:pt idx="109">
                  <c:v>1.19816080243018</c:v>
                </c:pt>
                <c:pt idx="110">
                  <c:v>1.2147477609369037</c:v>
                </c:pt>
                <c:pt idx="111">
                  <c:v>1.1829081167681019</c:v>
                </c:pt>
                <c:pt idx="112">
                  <c:v>1.2227804133447253</c:v>
                </c:pt>
                <c:pt idx="113">
                  <c:v>1.1908378756663012</c:v>
                </c:pt>
                <c:pt idx="114">
                  <c:v>1.157827136336022</c:v>
                </c:pt>
                <c:pt idx="115">
                  <c:v>1.1399609328330909</c:v>
                </c:pt>
                <c:pt idx="116">
                  <c:v>1.1432038401452118</c:v>
                </c:pt>
                <c:pt idx="117">
                  <c:v>1.1284588857223332</c:v>
                </c:pt>
                <c:pt idx="118">
                  <c:v>1.1063589706755199</c:v>
                </c:pt>
                <c:pt idx="119">
                  <c:v>1.1167622232555114</c:v>
                </c:pt>
                <c:pt idx="120">
                  <c:v>1.1134183007391958</c:v>
                </c:pt>
                <c:pt idx="121">
                  <c:v>1.0832270073605927</c:v>
                </c:pt>
                <c:pt idx="122">
                  <c:v>1.0604655227521871</c:v>
                </c:pt>
                <c:pt idx="123">
                  <c:v>1.0344971004975716</c:v>
                </c:pt>
                <c:pt idx="124">
                  <c:v>1.0312917077030925</c:v>
                </c:pt>
                <c:pt idx="125">
                  <c:v>1.0228800018652833</c:v>
                </c:pt>
                <c:pt idx="126">
                  <c:v>0.97954597184998882</c:v>
                </c:pt>
                <c:pt idx="127">
                  <c:v>0.97253933289446581</c:v>
                </c:pt>
                <c:pt idx="128">
                  <c:v>1.0121011903217396</c:v>
                </c:pt>
                <c:pt idx="129">
                  <c:v>1.0194234292073494</c:v>
                </c:pt>
                <c:pt idx="130">
                  <c:v>1.006652381146967</c:v>
                </c:pt>
                <c:pt idx="131">
                  <c:v>1.0059560839549924</c:v>
                </c:pt>
                <c:pt idx="132">
                  <c:v>0.96698113402625885</c:v>
                </c:pt>
                <c:pt idx="133">
                  <c:v>0.95852009946302497</c:v>
                </c:pt>
                <c:pt idx="134">
                  <c:v>0.9664619237330927</c:v>
                </c:pt>
                <c:pt idx="135">
                  <c:v>0.94129009539808184</c:v>
                </c:pt>
                <c:pt idx="136">
                  <c:v>0.97120604414396849</c:v>
                </c:pt>
                <c:pt idx="137">
                  <c:v>0.9854916877216513</c:v>
                </c:pt>
                <c:pt idx="138">
                  <c:v>0.98653663628372423</c:v>
                </c:pt>
                <c:pt idx="139">
                  <c:v>1.0031482807429624</c:v>
                </c:pt>
                <c:pt idx="140">
                  <c:v>0.9959174027756803</c:v>
                </c:pt>
                <c:pt idx="141">
                  <c:v>1.0049048929067748</c:v>
                </c:pt>
                <c:pt idx="142">
                  <c:v>0.9445064429394936</c:v>
                </c:pt>
                <c:pt idx="143">
                  <c:v>0.97752456540166466</c:v>
                </c:pt>
                <c:pt idx="144">
                  <c:v>0.97494733591212612</c:v>
                </c:pt>
                <c:pt idx="145">
                  <c:v>0.97964586554806932</c:v>
                </c:pt>
                <c:pt idx="146">
                  <c:v>1.0171504090795729</c:v>
                </c:pt>
                <c:pt idx="147">
                  <c:v>1.0178913092946127</c:v>
                </c:pt>
                <c:pt idx="148">
                  <c:v>1.0473419543680029</c:v>
                </c:pt>
                <c:pt idx="149">
                  <c:v>1.0313779247056023</c:v>
                </c:pt>
                <c:pt idx="150">
                  <c:v>1.057809025164828</c:v>
                </c:pt>
                <c:pt idx="151">
                  <c:v>1.0481679374970065</c:v>
                </c:pt>
                <c:pt idx="152">
                  <c:v>1.0542789157593297</c:v>
                </c:pt>
                <c:pt idx="153">
                  <c:v>1.0836818862979676</c:v>
                </c:pt>
                <c:pt idx="154">
                  <c:v>1.0802448465337142</c:v>
                </c:pt>
                <c:pt idx="155">
                  <c:v>1.0881415783656254</c:v>
                </c:pt>
                <c:pt idx="156">
                  <c:v>1.0833665425891894</c:v>
                </c:pt>
                <c:pt idx="157">
                  <c:v>1.1037438193130507</c:v>
                </c:pt>
                <c:pt idx="158">
                  <c:v>1.0964153715172109</c:v>
                </c:pt>
                <c:pt idx="159">
                  <c:v>1.0674299389525916</c:v>
                </c:pt>
                <c:pt idx="160">
                  <c:v>1.0965186275949264</c:v>
                </c:pt>
                <c:pt idx="161">
                  <c:v>1.0965362189154348</c:v>
                </c:pt>
                <c:pt idx="162">
                  <c:v>1.1167050961015372</c:v>
                </c:pt>
                <c:pt idx="163">
                  <c:v>1.1054851820982832</c:v>
                </c:pt>
                <c:pt idx="164">
                  <c:v>1.0979309970542139</c:v>
                </c:pt>
                <c:pt idx="165">
                  <c:v>1.0931116133041334</c:v>
                </c:pt>
                <c:pt idx="166">
                  <c:v>1.0680364967924647</c:v>
                </c:pt>
                <c:pt idx="167">
                  <c:v>1.0728360402800001</c:v>
                </c:pt>
                <c:pt idx="168">
                  <c:v>1.0798613145893663</c:v>
                </c:pt>
                <c:pt idx="169">
                  <c:v>1.106743473216121</c:v>
                </c:pt>
                <c:pt idx="170">
                  <c:v>1.142506611703175</c:v>
                </c:pt>
                <c:pt idx="171">
                  <c:v>1.1475183707460981</c:v>
                </c:pt>
                <c:pt idx="172">
                  <c:v>1.1372343227550983</c:v>
                </c:pt>
                <c:pt idx="173">
                  <c:v>1.1065553946008093</c:v>
                </c:pt>
                <c:pt idx="174">
                  <c:v>1.1172326510193435</c:v>
                </c:pt>
                <c:pt idx="175">
                  <c:v>1.1011525168966261</c:v>
                </c:pt>
                <c:pt idx="176">
                  <c:v>1.0786402971794595</c:v>
                </c:pt>
                <c:pt idx="177">
                  <c:v>1.1110068125812274</c:v>
                </c:pt>
                <c:pt idx="178">
                  <c:v>1.1164258090520336</c:v>
                </c:pt>
                <c:pt idx="179">
                  <c:v>1.1125282071184506</c:v>
                </c:pt>
                <c:pt idx="180">
                  <c:v>1.0715607411584704</c:v>
                </c:pt>
                <c:pt idx="181">
                  <c:v>1.131290082134591</c:v>
                </c:pt>
                <c:pt idx="182">
                  <c:v>1.1279219338558129</c:v>
                </c:pt>
                <c:pt idx="183">
                  <c:v>1.1506619390601101</c:v>
                </c:pt>
                <c:pt idx="184">
                  <c:v>1.166413220004987</c:v>
                </c:pt>
                <c:pt idx="185">
                  <c:v>1.1764449426433419</c:v>
                </c:pt>
                <c:pt idx="186">
                  <c:v>1.2020768207739851</c:v>
                </c:pt>
                <c:pt idx="187">
                  <c:v>1.1944270064783911</c:v>
                </c:pt>
                <c:pt idx="188">
                  <c:v>1.1782954355911444</c:v>
                </c:pt>
                <c:pt idx="189">
                  <c:v>1.1566203612825214</c:v>
                </c:pt>
                <c:pt idx="190">
                  <c:v>1.1749179098282942</c:v>
                </c:pt>
                <c:pt idx="191">
                  <c:v>1.1439718987125829</c:v>
                </c:pt>
                <c:pt idx="192">
                  <c:v>1.0973427566423044</c:v>
                </c:pt>
                <c:pt idx="193">
                  <c:v>1.1187956866494511</c:v>
                </c:pt>
                <c:pt idx="194">
                  <c:v>1.1271944781385508</c:v>
                </c:pt>
                <c:pt idx="195">
                  <c:v>1.1508407598477115</c:v>
                </c:pt>
                <c:pt idx="196">
                  <c:v>1.1516360475906537</c:v>
                </c:pt>
                <c:pt idx="197">
                  <c:v>1.1518773440964523</c:v>
                </c:pt>
                <c:pt idx="198">
                  <c:v>1.1528239754218501</c:v>
                </c:pt>
                <c:pt idx="199">
                  <c:v>1.1229131464034918</c:v>
                </c:pt>
                <c:pt idx="200">
                  <c:v>1.1233168349763254</c:v>
                </c:pt>
                <c:pt idx="201">
                  <c:v>1.1104258535539004</c:v>
                </c:pt>
                <c:pt idx="202">
                  <c:v>1.0772750782351772</c:v>
                </c:pt>
                <c:pt idx="203">
                  <c:v>1.1035701710060868</c:v>
                </c:pt>
                <c:pt idx="204">
                  <c:v>1.1055121557387715</c:v>
                </c:pt>
                <c:pt idx="205">
                  <c:v>1.1077878911063286</c:v>
                </c:pt>
                <c:pt idx="206">
                  <c:v>1.1021827886983162</c:v>
                </c:pt>
                <c:pt idx="207">
                  <c:v>1.0699194023255238</c:v>
                </c:pt>
                <c:pt idx="208">
                  <c:v>1.0544431614503087</c:v>
                </c:pt>
                <c:pt idx="209">
                  <c:v>1.0922913042620805</c:v>
                </c:pt>
                <c:pt idx="210">
                  <c:v>1.0998441131417416</c:v>
                </c:pt>
                <c:pt idx="211">
                  <c:v>1.0344230219523989</c:v>
                </c:pt>
                <c:pt idx="212">
                  <c:v>1.0416258901866682</c:v>
                </c:pt>
                <c:pt idx="213">
                  <c:v>0.99901127313021076</c:v>
                </c:pt>
                <c:pt idx="214">
                  <c:v>1.0121291310787655</c:v>
                </c:pt>
                <c:pt idx="215">
                  <c:v>1.0636636674043527</c:v>
                </c:pt>
                <c:pt idx="216">
                  <c:v>1.0848298063127477</c:v>
                </c:pt>
                <c:pt idx="217">
                  <c:v>1.1211314043097675</c:v>
                </c:pt>
                <c:pt idx="218">
                  <c:v>1.1589019454628375</c:v>
                </c:pt>
                <c:pt idx="219">
                  <c:v>1.1872315875302824</c:v>
                </c:pt>
                <c:pt idx="220">
                  <c:v>1.2074003713884054</c:v>
                </c:pt>
                <c:pt idx="221">
                  <c:v>1.2225076120802225</c:v>
                </c:pt>
                <c:pt idx="222">
                  <c:v>1.211913877836553</c:v>
                </c:pt>
                <c:pt idx="223">
                  <c:v>1.2157058158221783</c:v>
                </c:pt>
                <c:pt idx="224">
                  <c:v>1.1716050237175415</c:v>
                </c:pt>
                <c:pt idx="225">
                  <c:v>1.1723583468936545</c:v>
                </c:pt>
                <c:pt idx="226">
                  <c:v>1.1270708937628902</c:v>
                </c:pt>
                <c:pt idx="227">
                  <c:v>1.1207021401076334</c:v>
                </c:pt>
                <c:pt idx="228">
                  <c:v>1.1093161148111161</c:v>
                </c:pt>
                <c:pt idx="229">
                  <c:v>1.1324168331604372</c:v>
                </c:pt>
                <c:pt idx="230">
                  <c:v>1.0924598065041966</c:v>
                </c:pt>
                <c:pt idx="231">
                  <c:v>1.0857928559875207</c:v>
                </c:pt>
                <c:pt idx="232">
                  <c:v>1.1140487632663845</c:v>
                </c:pt>
                <c:pt idx="233">
                  <c:v>1.1229997547575556</c:v>
                </c:pt>
                <c:pt idx="234">
                  <c:v>1.080396836996496</c:v>
                </c:pt>
                <c:pt idx="235">
                  <c:v>1.0624628892601398</c:v>
                </c:pt>
                <c:pt idx="236">
                  <c:v>1.0346660510442067</c:v>
                </c:pt>
                <c:pt idx="237">
                  <c:v>0.98688035874650004</c:v>
                </c:pt>
                <c:pt idx="238">
                  <c:v>0.94543460540876745</c:v>
                </c:pt>
                <c:pt idx="239">
                  <c:v>0.92861850278081093</c:v>
                </c:pt>
                <c:pt idx="240">
                  <c:v>0.87355255446926461</c:v>
                </c:pt>
                <c:pt idx="241">
                  <c:v>0.73506319501517781</c:v>
                </c:pt>
                <c:pt idx="242">
                  <c:v>0.5799072232836775</c:v>
                </c:pt>
                <c:pt idx="243">
                  <c:v>0.54976410906171469</c:v>
                </c:pt>
                <c:pt idx="244">
                  <c:v>0.56683126648780058</c:v>
                </c:pt>
                <c:pt idx="245">
                  <c:v>0.6163505816425876</c:v>
                </c:pt>
                <c:pt idx="246">
                  <c:v>0.60353555554624538</c:v>
                </c:pt>
                <c:pt idx="247">
                  <c:v>0.61546447661521464</c:v>
                </c:pt>
                <c:pt idx="248">
                  <c:v>0.61672788580761373</c:v>
                </c:pt>
                <c:pt idx="249">
                  <c:v>0.58477535828409843</c:v>
                </c:pt>
                <c:pt idx="250">
                  <c:v>0.59520501805999459</c:v>
                </c:pt>
                <c:pt idx="251">
                  <c:v>0.57466584763363038</c:v>
                </c:pt>
                <c:pt idx="252">
                  <c:v>0.58987609333239632</c:v>
                </c:pt>
                <c:pt idx="253">
                  <c:v>0.59761696613303994</c:v>
                </c:pt>
                <c:pt idx="254">
                  <c:v>0.59841063174185205</c:v>
                </c:pt>
                <c:pt idx="255">
                  <c:v>0.61678521271984055</c:v>
                </c:pt>
                <c:pt idx="256">
                  <c:v>0.62622138125504345</c:v>
                </c:pt>
                <c:pt idx="257">
                  <c:v>0.67243162837585202</c:v>
                </c:pt>
                <c:pt idx="258">
                  <c:v>0.73439847483471143</c:v>
                </c:pt>
                <c:pt idx="259">
                  <c:v>0.83138664928398653</c:v>
                </c:pt>
                <c:pt idx="260">
                  <c:v>0.91468721724508373</c:v>
                </c:pt>
                <c:pt idx="261">
                  <c:v>0.92364883140148191</c:v>
                </c:pt>
                <c:pt idx="262">
                  <c:v>1.0182814362719876</c:v>
                </c:pt>
                <c:pt idx="263">
                  <c:v>1.0353670928297418</c:v>
                </c:pt>
                <c:pt idx="264">
                  <c:v>1.1711702104220323</c:v>
                </c:pt>
                <c:pt idx="265">
                  <c:v>1.2243421016048477</c:v>
                </c:pt>
                <c:pt idx="266">
                  <c:v>1.2203416249658718</c:v>
                </c:pt>
                <c:pt idx="267">
                  <c:v>1.2580150400934835</c:v>
                </c:pt>
                <c:pt idx="268">
                  <c:v>1.2670314573220849</c:v>
                </c:pt>
                <c:pt idx="269">
                  <c:v>1.2616278649697146</c:v>
                </c:pt>
                <c:pt idx="270">
                  <c:v>1.2672887759673426</c:v>
                </c:pt>
                <c:pt idx="271">
                  <c:v>1.2745831382546193</c:v>
                </c:pt>
                <c:pt idx="272">
                  <c:v>1.2765212674588211</c:v>
                </c:pt>
                <c:pt idx="273">
                  <c:v>1.3608312639142419</c:v>
                </c:pt>
                <c:pt idx="274">
                  <c:v>1.3220416754938196</c:v>
                </c:pt>
                <c:pt idx="275">
                  <c:v>1.2627897976126592</c:v>
                </c:pt>
                <c:pt idx="276">
                  <c:v>1.2547206842886172</c:v>
                </c:pt>
                <c:pt idx="277">
                  <c:v>1.1995989811848078</c:v>
                </c:pt>
                <c:pt idx="278">
                  <c:v>1.1591036000861203</c:v>
                </c:pt>
                <c:pt idx="279">
                  <c:v>1.1473051331652435</c:v>
                </c:pt>
                <c:pt idx="280">
                  <c:v>1.0959244562923114</c:v>
                </c:pt>
                <c:pt idx="281">
                  <c:v>1.0577669265749492</c:v>
                </c:pt>
                <c:pt idx="282">
                  <c:v>1.0799766834298086</c:v>
                </c:pt>
                <c:pt idx="283">
                  <c:v>1.0399894241711234</c:v>
                </c:pt>
                <c:pt idx="284">
                  <c:v>1.0235307230208144</c:v>
                </c:pt>
                <c:pt idx="285">
                  <c:v>1.0174381528697001</c:v>
                </c:pt>
                <c:pt idx="286">
                  <c:v>0.9921241851521061</c:v>
                </c:pt>
                <c:pt idx="287">
                  <c:v>1.0119809539194864</c:v>
                </c:pt>
                <c:pt idx="288">
                  <c:v>1.0187798369132139</c:v>
                </c:pt>
                <c:pt idx="289">
                  <c:v>1.0370980989584702</c:v>
                </c:pt>
                <c:pt idx="290">
                  <c:v>1.0462755729698014</c:v>
                </c:pt>
                <c:pt idx="291">
                  <c:v>1.0368996767159897</c:v>
                </c:pt>
                <c:pt idx="292">
                  <c:v>1.0380837441992594</c:v>
                </c:pt>
                <c:pt idx="293">
                  <c:v>1.0633652409133041</c:v>
                </c:pt>
                <c:pt idx="294">
                  <c:v>1.0285124426823762</c:v>
                </c:pt>
                <c:pt idx="295">
                  <c:v>1.0398299541620664</c:v>
                </c:pt>
                <c:pt idx="296">
                  <c:v>1.0776565463540171</c:v>
                </c:pt>
                <c:pt idx="297">
                  <c:v>1.0978928929888923</c:v>
                </c:pt>
                <c:pt idx="298">
                  <c:v>1.0953732896666306</c:v>
                </c:pt>
                <c:pt idx="299">
                  <c:v>1.1290348334814542</c:v>
                </c:pt>
                <c:pt idx="300">
                  <c:v>1.1542153046279691</c:v>
                </c:pt>
                <c:pt idx="301">
                  <c:v>1.1772022582414503</c:v>
                </c:pt>
                <c:pt idx="302">
                  <c:v>1.1440230266404028</c:v>
                </c:pt>
                <c:pt idx="303">
                  <c:v>1.1505819825383874</c:v>
                </c:pt>
                <c:pt idx="304">
                  <c:v>1.1407279729500517</c:v>
                </c:pt>
                <c:pt idx="305">
                  <c:v>1.1305561117551808</c:v>
                </c:pt>
                <c:pt idx="306">
                  <c:v>1.127755569248609</c:v>
                </c:pt>
                <c:pt idx="307">
                  <c:v>1.1171471591071174</c:v>
                </c:pt>
                <c:pt idx="308">
                  <c:v>1.1080211444830861</c:v>
                </c:pt>
                <c:pt idx="309">
                  <c:v>1.09890215257365</c:v>
                </c:pt>
                <c:pt idx="310">
                  <c:v>1.117235315788365</c:v>
                </c:pt>
                <c:pt idx="311">
                  <c:v>1.1137382716981594</c:v>
                </c:pt>
                <c:pt idx="312">
                  <c:v>1.1142764678537624</c:v>
                </c:pt>
                <c:pt idx="313">
                  <c:v>1.127161703748687</c:v>
                </c:pt>
                <c:pt idx="314">
                  <c:v>1.1463673176990601</c:v>
                </c:pt>
                <c:pt idx="315">
                  <c:v>1.1262763572092873</c:v>
                </c:pt>
                <c:pt idx="316">
                  <c:v>1.1536234195660764</c:v>
                </c:pt>
                <c:pt idx="317">
                  <c:v>1.1291383305179183</c:v>
                </c:pt>
                <c:pt idx="318">
                  <c:v>1.095813917877289</c:v>
                </c:pt>
                <c:pt idx="319">
                  <c:v>1.1118798787365021</c:v>
                </c:pt>
                <c:pt idx="320">
                  <c:v>1.1069885653847837</c:v>
                </c:pt>
                <c:pt idx="321">
                  <c:v>1.0913888025369112</c:v>
                </c:pt>
                <c:pt idx="322">
                  <c:v>1.1332606514782042</c:v>
                </c:pt>
                <c:pt idx="323">
                  <c:v>1.1591334497204426</c:v>
                </c:pt>
                <c:pt idx="324">
                  <c:v>1.1785537682580345</c:v>
                </c:pt>
                <c:pt idx="325">
                  <c:v>1.1699763998327626</c:v>
                </c:pt>
                <c:pt idx="326">
                  <c:v>1.1645833775350898</c:v>
                </c:pt>
                <c:pt idx="327">
                  <c:v>1.1468080799025575</c:v>
                </c:pt>
                <c:pt idx="328">
                  <c:v>1.1359297415117067</c:v>
                </c:pt>
                <c:pt idx="329">
                  <c:v>1.1154513786474016</c:v>
                </c:pt>
                <c:pt idx="330">
                  <c:v>1.1104338259152366</c:v>
                </c:pt>
                <c:pt idx="331">
                  <c:v>1.1102968755692502</c:v>
                </c:pt>
                <c:pt idx="332">
                  <c:v>1.1434741876066028</c:v>
                </c:pt>
                <c:pt idx="333">
                  <c:v>1.0997366659241345</c:v>
                </c:pt>
                <c:pt idx="334">
                  <c:v>1.0973969422282823</c:v>
                </c:pt>
                <c:pt idx="335">
                  <c:v>1.1341576424306778</c:v>
                </c:pt>
                <c:pt idx="336">
                  <c:v>1.1689791028260819</c:v>
                </c:pt>
                <c:pt idx="337">
                  <c:v>1.1756220162811306</c:v>
                </c:pt>
                <c:pt idx="338">
                  <c:v>1.1813564805447878</c:v>
                </c:pt>
                <c:pt idx="339">
                  <c:v>1.1686825402677514</c:v>
                </c:pt>
                <c:pt idx="340">
                  <c:v>1.1881641934283154</c:v>
                </c:pt>
                <c:pt idx="341">
                  <c:v>1.1933375413590079</c:v>
                </c:pt>
                <c:pt idx="342">
                  <c:v>1.2175155813499967</c:v>
                </c:pt>
                <c:pt idx="343">
                  <c:v>1.2373818207711671</c:v>
                </c:pt>
                <c:pt idx="344">
                  <c:v>1.2289658314572234</c:v>
                </c:pt>
                <c:pt idx="345">
                  <c:v>1.2182330487248414</c:v>
                </c:pt>
                <c:pt idx="346">
                  <c:v>1.2099732412958391</c:v>
                </c:pt>
                <c:pt idx="347">
                  <c:v>1.2120260834127923</c:v>
                </c:pt>
                <c:pt idx="348">
                  <c:v>1.2618985126165039</c:v>
                </c:pt>
                <c:pt idx="349">
                  <c:v>1.2340893450192623</c:v>
                </c:pt>
                <c:pt idx="350">
                  <c:v>1.2279015525776533</c:v>
                </c:pt>
                <c:pt idx="351">
                  <c:v>1.248682931356742</c:v>
                </c:pt>
                <c:pt idx="352">
                  <c:v>1.2236247742103428</c:v>
                </c:pt>
                <c:pt idx="353">
                  <c:v>1.2108272279588574</c:v>
                </c:pt>
                <c:pt idx="354">
                  <c:v>1.1790996792456803</c:v>
                </c:pt>
                <c:pt idx="355">
                  <c:v>1.1985478878076921</c:v>
                </c:pt>
                <c:pt idx="356">
                  <c:v>1.1607370806782573</c:v>
                </c:pt>
                <c:pt idx="357">
                  <c:v>1.1541608388951909</c:v>
                </c:pt>
                <c:pt idx="358">
                  <c:v>1.1782117157559724</c:v>
                </c:pt>
                <c:pt idx="359">
                  <c:v>1.179632129373013</c:v>
                </c:pt>
                <c:pt idx="360">
                  <c:v>1.1865024292091997</c:v>
                </c:pt>
                <c:pt idx="361">
                  <c:v>1.1667501384787864</c:v>
                </c:pt>
                <c:pt idx="362">
                  <c:v>1.1743929125679522</c:v>
                </c:pt>
                <c:pt idx="363">
                  <c:v>1.1987544571827342</c:v>
                </c:pt>
                <c:pt idx="364">
                  <c:v>1.2076960471181541</c:v>
                </c:pt>
                <c:pt idx="365">
                  <c:v>1.1866977796343399</c:v>
                </c:pt>
                <c:pt idx="366">
                  <c:v>1.1887025671973421</c:v>
                </c:pt>
                <c:pt idx="367">
                  <c:v>1.2001833981437771</c:v>
                </c:pt>
                <c:pt idx="368">
                  <c:v>1.1924610692390176</c:v>
                </c:pt>
                <c:pt idx="369">
                  <c:v>1.2025628341328713</c:v>
                </c:pt>
                <c:pt idx="370">
                  <c:v>1.1865476153089458</c:v>
                </c:pt>
                <c:pt idx="371">
                  <c:v>1.163390881920503</c:v>
                </c:pt>
                <c:pt idx="372">
                  <c:v>1.1291959717574491</c:v>
                </c:pt>
                <c:pt idx="373">
                  <c:v>1.083889026359325</c:v>
                </c:pt>
                <c:pt idx="374">
                  <c:v>1.0621386358146179</c:v>
                </c:pt>
                <c:pt idx="375">
                  <c:v>1.090251075154073</c:v>
                </c:pt>
                <c:pt idx="376">
                  <c:v>1.0867766985651108</c:v>
                </c:pt>
                <c:pt idx="377">
                  <c:v>1.0698962780780099</c:v>
                </c:pt>
                <c:pt idx="378">
                  <c:v>1.0389016262590913</c:v>
                </c:pt>
                <c:pt idx="379">
                  <c:v>1.0210830316768376</c:v>
                </c:pt>
                <c:pt idx="380">
                  <c:v>1.0426887775655844</c:v>
                </c:pt>
                <c:pt idx="381">
                  <c:v>0.9962679727792334</c:v>
                </c:pt>
                <c:pt idx="382">
                  <c:v>1.0264837062592462</c:v>
                </c:pt>
                <c:pt idx="383">
                  <c:v>1.0057878005227496</c:v>
                </c:pt>
                <c:pt idx="384">
                  <c:v>1.0104435869673982</c:v>
                </c:pt>
                <c:pt idx="385">
                  <c:v>1.0147995724031871</c:v>
                </c:pt>
                <c:pt idx="386">
                  <c:v>1.0269575961133721</c:v>
                </c:pt>
                <c:pt idx="387">
                  <c:v>1.0348062903793498</c:v>
                </c:pt>
                <c:pt idx="388">
                  <c:v>1.043732901337421</c:v>
                </c:pt>
                <c:pt idx="389">
                  <c:v>1.0468284863589705</c:v>
                </c:pt>
                <c:pt idx="390">
                  <c:v>1.0408656070554294</c:v>
                </c:pt>
                <c:pt idx="391">
                  <c:v>1.0559327518172366</c:v>
                </c:pt>
                <c:pt idx="392">
                  <c:v>1.0293736908678854</c:v>
                </c:pt>
                <c:pt idx="393">
                  <c:v>1.0070585086141612</c:v>
                </c:pt>
                <c:pt idx="394">
                  <c:v>0.99564133967096202</c:v>
                </c:pt>
                <c:pt idx="395">
                  <c:v>0.98766133379835774</c:v>
                </c:pt>
                <c:pt idx="396">
                  <c:v>0.94466033333927357</c:v>
                </c:pt>
                <c:pt idx="397">
                  <c:v>0.91592217852986613</c:v>
                </c:pt>
                <c:pt idx="398">
                  <c:v>0.91686728142239793</c:v>
                </c:pt>
                <c:pt idx="399">
                  <c:v>0.93894212997866933</c:v>
                </c:pt>
                <c:pt idx="400">
                  <c:v>0.96900734052257209</c:v>
                </c:pt>
                <c:pt idx="401">
                  <c:v>1.0031541319838038</c:v>
                </c:pt>
                <c:pt idx="402">
                  <c:v>0.98566088933065732</c:v>
                </c:pt>
                <c:pt idx="403">
                  <c:v>0.99902217586293984</c:v>
                </c:pt>
                <c:pt idx="404">
                  <c:v>1.0095109246001648</c:v>
                </c:pt>
                <c:pt idx="405">
                  <c:v>0.99252654013844555</c:v>
                </c:pt>
                <c:pt idx="406">
                  <c:v>1.0138218925740849</c:v>
                </c:pt>
                <c:pt idx="407">
                  <c:v>1.0207311212526953</c:v>
                </c:pt>
                <c:pt idx="408">
                  <c:v>1.0701588845527985</c:v>
                </c:pt>
                <c:pt idx="409">
                  <c:v>1.0608008813128411</c:v>
                </c:pt>
                <c:pt idx="410">
                  <c:v>1.080541523517381</c:v>
                </c:pt>
                <c:pt idx="411">
                  <c:v>1.0859515085629248</c:v>
                </c:pt>
                <c:pt idx="412">
                  <c:v>1.091040873773629</c:v>
                </c:pt>
                <c:pt idx="413">
                  <c:v>1.0906094149780454</c:v>
                </c:pt>
                <c:pt idx="414">
                  <c:v>1.0997487255987994</c:v>
                </c:pt>
                <c:pt idx="415">
                  <c:v>1.1209660536844459</c:v>
                </c:pt>
                <c:pt idx="416">
                  <c:v>1.1320914488161491</c:v>
                </c:pt>
                <c:pt idx="417">
                  <c:v>1.1291735218358963</c:v>
                </c:pt>
                <c:pt idx="418">
                  <c:v>1.1030409839534216</c:v>
                </c:pt>
                <c:pt idx="419">
                  <c:v>1.0942348788036531</c:v>
                </c:pt>
                <c:pt idx="420">
                  <c:v>1.1450490783274139</c:v>
                </c:pt>
                <c:pt idx="421">
                  <c:v>1.1316353526995988</c:v>
                </c:pt>
                <c:pt idx="422">
                  <c:v>1.1526287839571057</c:v>
                </c:pt>
                <c:pt idx="423">
                  <c:v>1.1899831299557739</c:v>
                </c:pt>
                <c:pt idx="424">
                  <c:v>1.1940438595817935</c:v>
                </c:pt>
                <c:pt idx="425">
                  <c:v>1.2035700347015634</c:v>
                </c:pt>
                <c:pt idx="426">
                  <c:v>1.1938700936027948</c:v>
                </c:pt>
                <c:pt idx="427">
                  <c:v>1.1945904147572548</c:v>
                </c:pt>
                <c:pt idx="428">
                  <c:v>1.2189352357753547</c:v>
                </c:pt>
                <c:pt idx="429">
                  <c:v>1.2329982848086256</c:v>
                </c:pt>
                <c:pt idx="430">
                  <c:v>1.2321120003656114</c:v>
                </c:pt>
                <c:pt idx="431">
                  <c:v>1.2363043775305413</c:v>
                </c:pt>
                <c:pt idx="432">
                  <c:v>1.2712828664603473</c:v>
                </c:pt>
                <c:pt idx="433">
                  <c:v>1.2706609048834665</c:v>
                </c:pt>
                <c:pt idx="434">
                  <c:v>1.2736436678196501</c:v>
                </c:pt>
                <c:pt idx="435">
                  <c:v>1.25209017661649</c:v>
                </c:pt>
                <c:pt idx="436">
                  <c:v>1.21171547847242</c:v>
                </c:pt>
                <c:pt idx="437">
                  <c:v>1.2110188504705572</c:v>
                </c:pt>
                <c:pt idx="438">
                  <c:v>1.2055671251150424</c:v>
                </c:pt>
                <c:pt idx="439">
                  <c:v>1.224112808944823</c:v>
                </c:pt>
                <c:pt idx="440">
                  <c:v>1.20526048831195</c:v>
                </c:pt>
                <c:pt idx="441">
                  <c:v>1.2119470621347874</c:v>
                </c:pt>
                <c:pt idx="442">
                  <c:v>1.1967124676256959</c:v>
                </c:pt>
                <c:pt idx="443">
                  <c:v>1.1939899970958505</c:v>
                </c:pt>
                <c:pt idx="444">
                  <c:v>1.1838422808004765</c:v>
                </c:pt>
                <c:pt idx="445">
                  <c:v>1.1695392686389205</c:v>
                </c:pt>
                <c:pt idx="446">
                  <c:v>1.1922596261493619</c:v>
                </c:pt>
                <c:pt idx="447">
                  <c:v>1.1811807657272466</c:v>
                </c:pt>
                <c:pt idx="448">
                  <c:v>1.1595251627410865</c:v>
                </c:pt>
                <c:pt idx="449">
                  <c:v>1.1550688428164293</c:v>
                </c:pt>
                <c:pt idx="450">
                  <c:v>1.1356295605428488</c:v>
                </c:pt>
                <c:pt idx="451">
                  <c:v>1.1425652223648124</c:v>
                </c:pt>
                <c:pt idx="452">
                  <c:v>1.1172821093293768</c:v>
                </c:pt>
                <c:pt idx="453">
                  <c:v>1.0641095689670779</c:v>
                </c:pt>
                <c:pt idx="454">
                  <c:v>1.0819189703478072</c:v>
                </c:pt>
                <c:pt idx="455">
                  <c:v>1.0834523491690968</c:v>
                </c:pt>
                <c:pt idx="456">
                  <c:v>1.1331078935722758</c:v>
                </c:pt>
                <c:pt idx="457">
                  <c:v>1.1233869378476489</c:v>
                </c:pt>
                <c:pt idx="458">
                  <c:v>1.1231913533614355</c:v>
                </c:pt>
                <c:pt idx="459">
                  <c:v>1.1142745320531073</c:v>
                </c:pt>
                <c:pt idx="460">
                  <c:v>1.1355661951231832</c:v>
                </c:pt>
                <c:pt idx="461">
                  <c:v>1.151085786207185</c:v>
                </c:pt>
                <c:pt idx="462">
                  <c:v>1.1197107065183161</c:v>
                </c:pt>
                <c:pt idx="463">
                  <c:v>1.1560935355258306</c:v>
                </c:pt>
                <c:pt idx="464">
                  <c:v>1.1527788715775054</c:v>
                </c:pt>
                <c:pt idx="465">
                  <c:v>1.1576056115377569</c:v>
                </c:pt>
                <c:pt idx="466">
                  <c:v>1.1729350517691686</c:v>
                </c:pt>
                <c:pt idx="467">
                  <c:v>1.1549293866203489</c:v>
                </c:pt>
                <c:pt idx="468">
                  <c:v>1.1374659977410675</c:v>
                </c:pt>
                <c:pt idx="469">
                  <c:v>1.1218641849846656</c:v>
                </c:pt>
                <c:pt idx="470">
                  <c:v>1.1541191272337248</c:v>
                </c:pt>
                <c:pt idx="471">
                  <c:v>1.1963441756821902</c:v>
                </c:pt>
                <c:pt idx="472">
                  <c:v>1.2034840339574941</c:v>
                </c:pt>
                <c:pt idx="473">
                  <c:v>1.2032905988744205</c:v>
                </c:pt>
                <c:pt idx="474">
                  <c:v>1.2258887801903318</c:v>
                </c:pt>
                <c:pt idx="475">
                  <c:v>1.1869815111380675</c:v>
                </c:pt>
                <c:pt idx="476">
                  <c:v>1.1810606031452873</c:v>
                </c:pt>
                <c:pt idx="477">
                  <c:v>1.181010592631458</c:v>
                </c:pt>
                <c:pt idx="478">
                  <c:v>1.1859077872160277</c:v>
                </c:pt>
                <c:pt idx="479">
                  <c:v>1.1689488750853143</c:v>
                </c:pt>
                <c:pt idx="480">
                  <c:v>1.1880750488722616</c:v>
                </c:pt>
                <c:pt idx="481">
                  <c:v>1.1634052672024675</c:v>
                </c:pt>
                <c:pt idx="482">
                  <c:v>1.140350028492096</c:v>
                </c:pt>
                <c:pt idx="483">
                  <c:v>1.1783907425873044</c:v>
                </c:pt>
                <c:pt idx="484">
                  <c:v>1.1603316466610782</c:v>
                </c:pt>
                <c:pt idx="485">
                  <c:v>1.1286368306809862</c:v>
                </c:pt>
                <c:pt idx="486">
                  <c:v>1.1292380234062707</c:v>
                </c:pt>
                <c:pt idx="487">
                  <c:v>1.1495482025998709</c:v>
                </c:pt>
                <c:pt idx="488">
                  <c:v>1.155296264447472</c:v>
                </c:pt>
                <c:pt idx="489">
                  <c:v>1.1264251337840638</c:v>
                </c:pt>
                <c:pt idx="490">
                  <c:v>1.1079619811382253</c:v>
                </c:pt>
                <c:pt idx="491">
                  <c:v>1.0967869352092647</c:v>
                </c:pt>
                <c:pt idx="492">
                  <c:v>1.0860949471237455</c:v>
                </c:pt>
                <c:pt idx="493">
                  <c:v>1.0488144505330552</c:v>
                </c:pt>
                <c:pt idx="494">
                  <c:v>1.0489976223145405</c:v>
                </c:pt>
                <c:pt idx="495">
                  <c:v>1.0216862810041307</c:v>
                </c:pt>
                <c:pt idx="496">
                  <c:v>1.0565991368191963</c:v>
                </c:pt>
                <c:pt idx="497">
                  <c:v>1.0583675600043234</c:v>
                </c:pt>
                <c:pt idx="498">
                  <c:v>1.0652249149745496</c:v>
                </c:pt>
                <c:pt idx="499">
                  <c:v>1.0815645118978365</c:v>
                </c:pt>
                <c:pt idx="500">
                  <c:v>1.068467353272732</c:v>
                </c:pt>
                <c:pt idx="501">
                  <c:v>1.0523200560324564</c:v>
                </c:pt>
                <c:pt idx="502">
                  <c:v>1.0521470204952532</c:v>
                </c:pt>
                <c:pt idx="503">
                  <c:v>1.0542541154051857</c:v>
                </c:pt>
                <c:pt idx="504">
                  <c:v>1.0362436598312226</c:v>
                </c:pt>
                <c:pt idx="505">
                  <c:v>1.0596084919053248</c:v>
                </c:pt>
                <c:pt idx="506">
                  <c:v>1.0382468876229234</c:v>
                </c:pt>
                <c:pt idx="507">
                  <c:v>1.0925068902413413</c:v>
                </c:pt>
                <c:pt idx="508">
                  <c:v>1.1063569320752318</c:v>
                </c:pt>
                <c:pt idx="509">
                  <c:v>1.1034458541817409</c:v>
                </c:pt>
                <c:pt idx="510">
                  <c:v>1.1000607293529563</c:v>
                </c:pt>
                <c:pt idx="511">
                  <c:v>1.1419420688788928</c:v>
                </c:pt>
                <c:pt idx="512">
                  <c:v>1.1563160989093089</c:v>
                </c:pt>
                <c:pt idx="513">
                  <c:v>1.1341821691076757</c:v>
                </c:pt>
                <c:pt idx="514">
                  <c:v>1.1316947339020678</c:v>
                </c:pt>
                <c:pt idx="515">
                  <c:v>1.1220311209800835</c:v>
                </c:pt>
                <c:pt idx="516">
                  <c:v>1.0922656981135646</c:v>
                </c:pt>
                <c:pt idx="517">
                  <c:v>1.0671265441467781</c:v>
                </c:pt>
                <c:pt idx="518">
                  <c:v>1.034850778828551</c:v>
                </c:pt>
                <c:pt idx="519">
                  <c:v>1.0323835223122351</c:v>
                </c:pt>
                <c:pt idx="520">
                  <c:v>1.0406427475171367</c:v>
                </c:pt>
                <c:pt idx="521">
                  <c:v>1.0478832494405541</c:v>
                </c:pt>
                <c:pt idx="522">
                  <c:v>1.0504232029981397</c:v>
                </c:pt>
                <c:pt idx="523">
                  <c:v>1.0599101564426872</c:v>
                </c:pt>
                <c:pt idx="524">
                  <c:v>1.0455118498273126</c:v>
                </c:pt>
                <c:pt idx="525">
                  <c:v>1.09614352973855</c:v>
                </c:pt>
                <c:pt idx="526">
                  <c:v>1.0860601335457061</c:v>
                </c:pt>
                <c:pt idx="527">
                  <c:v>1.0779973828280043</c:v>
                </c:pt>
                <c:pt idx="528">
                  <c:v>1.0388743510217624</c:v>
                </c:pt>
                <c:pt idx="529">
                  <c:v>0.96890292638481568</c:v>
                </c:pt>
                <c:pt idx="530">
                  <c:v>0.99488031107709674</c:v>
                </c:pt>
                <c:pt idx="531">
                  <c:v>1.0102713716302134</c:v>
                </c:pt>
                <c:pt idx="532">
                  <c:v>1.0056641530020569</c:v>
                </c:pt>
                <c:pt idx="533">
                  <c:v>0.99208123840708873</c:v>
                </c:pt>
                <c:pt idx="534">
                  <c:v>0.96060394407081029</c:v>
                </c:pt>
                <c:pt idx="535">
                  <c:v>0.96044271804909842</c:v>
                </c:pt>
                <c:pt idx="536">
                  <c:v>0.96743584083454759</c:v>
                </c:pt>
                <c:pt idx="537">
                  <c:v>0.93023490473252957</c:v>
                </c:pt>
                <c:pt idx="538">
                  <c:v>0.9285674163787736</c:v>
                </c:pt>
                <c:pt idx="539">
                  <c:v>0.93312293962977844</c:v>
                </c:pt>
                <c:pt idx="540">
                  <c:v>0.96751179302151469</c:v>
                </c:pt>
                <c:pt idx="541">
                  <c:v>0.94577821289004538</c:v>
                </c:pt>
                <c:pt idx="542">
                  <c:v>0.99989224956084111</c:v>
                </c:pt>
                <c:pt idx="543">
                  <c:v>1.0299083232013742</c:v>
                </c:pt>
                <c:pt idx="544">
                  <c:v>1.0174533863532174</c:v>
                </c:pt>
                <c:pt idx="545">
                  <c:v>1.0438530761730478</c:v>
                </c:pt>
                <c:pt idx="546">
                  <c:v>1.0432214497766115</c:v>
                </c:pt>
                <c:pt idx="547">
                  <c:v>1.0524500511295947</c:v>
                </c:pt>
                <c:pt idx="548">
                  <c:v>1.0850128108867729</c:v>
                </c:pt>
                <c:pt idx="549">
                  <c:v>1.0640034213467608</c:v>
                </c:pt>
                <c:pt idx="550">
                  <c:v>1.0990865764507003</c:v>
                </c:pt>
                <c:pt idx="551">
                  <c:v>1.1339272755247107</c:v>
                </c:pt>
                <c:pt idx="552">
                  <c:v>1.1281172188853523</c:v>
                </c:pt>
                <c:pt idx="553">
                  <c:v>1.1176425658027267</c:v>
                </c:pt>
                <c:pt idx="554">
                  <c:v>1.1243596620973275</c:v>
                </c:pt>
                <c:pt idx="555">
                  <c:v>1.0768231361840768</c:v>
                </c:pt>
                <c:pt idx="556">
                  <c:v>1.0499801990114941</c:v>
                </c:pt>
                <c:pt idx="557">
                  <c:v>1.0976068141692958</c:v>
                </c:pt>
                <c:pt idx="558">
                  <c:v>1.1197708990545492</c:v>
                </c:pt>
                <c:pt idx="559">
                  <c:v>1.1267838088451414</c:v>
                </c:pt>
                <c:pt idx="560">
                  <c:v>1.1215697445034136</c:v>
                </c:pt>
                <c:pt idx="561">
                  <c:v>1.1210822387466226</c:v>
                </c:pt>
                <c:pt idx="562">
                  <c:v>1.1474959072160924</c:v>
                </c:pt>
                <c:pt idx="563">
                  <c:v>1.1684744543826986</c:v>
                </c:pt>
                <c:pt idx="564">
                  <c:v>1.1857679974428676</c:v>
                </c:pt>
                <c:pt idx="565">
                  <c:v>1.1702165127147806</c:v>
                </c:pt>
                <c:pt idx="566">
                  <c:v>1.1381886866147783</c:v>
                </c:pt>
                <c:pt idx="567">
                  <c:v>1.1255248784712972</c:v>
                </c:pt>
                <c:pt idx="568">
                  <c:v>1.1481460096122871</c:v>
                </c:pt>
                <c:pt idx="569">
                  <c:v>1.134806988563279</c:v>
                </c:pt>
                <c:pt idx="570">
                  <c:v>1.1219544289844345</c:v>
                </c:pt>
                <c:pt idx="571">
                  <c:v>1.0908475138592186</c:v>
                </c:pt>
                <c:pt idx="572">
                  <c:v>1.0684795325784637</c:v>
                </c:pt>
                <c:pt idx="573">
                  <c:v>1.0383224268397657</c:v>
                </c:pt>
                <c:pt idx="574">
                  <c:v>1.0532127363815573</c:v>
                </c:pt>
                <c:pt idx="575">
                  <c:v>1.0577882007432982</c:v>
                </c:pt>
                <c:pt idx="576">
                  <c:v>1.1153085771778146</c:v>
                </c:pt>
                <c:pt idx="577">
                  <c:v>1.1064071269860647</c:v>
                </c:pt>
                <c:pt idx="578">
                  <c:v>1.0538242473834465</c:v>
                </c:pt>
                <c:pt idx="579">
                  <c:v>1.0590531215534151</c:v>
                </c:pt>
                <c:pt idx="580">
                  <c:v>1.0105170870542024</c:v>
                </c:pt>
                <c:pt idx="581">
                  <c:v>0.95526897031245639</c:v>
                </c:pt>
                <c:pt idx="582">
                  <c:v>0.98614441417455656</c:v>
                </c:pt>
                <c:pt idx="583">
                  <c:v>0.9774040344488697</c:v>
                </c:pt>
                <c:pt idx="584">
                  <c:v>0.95635816998507495</c:v>
                </c:pt>
                <c:pt idx="585">
                  <c:v>0.96432106197574408</c:v>
                </c:pt>
                <c:pt idx="586">
                  <c:v>0.9865136494146336</c:v>
                </c:pt>
                <c:pt idx="587">
                  <c:v>0.94806447634619917</c:v>
                </c:pt>
                <c:pt idx="588">
                  <c:v>1.001386835926201</c:v>
                </c:pt>
                <c:pt idx="589">
                  <c:v>0.99573584576081142</c:v>
                </c:pt>
                <c:pt idx="590">
                  <c:v>1.0159168331039266</c:v>
                </c:pt>
                <c:pt idx="591">
                  <c:v>1.0042864462956596</c:v>
                </c:pt>
                <c:pt idx="592">
                  <c:v>0.96478648645718912</c:v>
                </c:pt>
                <c:pt idx="593">
                  <c:v>0.99138434481906312</c:v>
                </c:pt>
                <c:pt idx="594">
                  <c:v>1.0025815862064391</c:v>
                </c:pt>
                <c:pt idx="595">
                  <c:v>1.029443383581307</c:v>
                </c:pt>
                <c:pt idx="596">
                  <c:v>1.0636313678696261</c:v>
                </c:pt>
                <c:pt idx="597">
                  <c:v>1.0730885082768409</c:v>
                </c:pt>
                <c:pt idx="598">
                  <c:v>1.0744150593828081</c:v>
                </c:pt>
                <c:pt idx="599">
                  <c:v>1.0753924484592372</c:v>
                </c:pt>
                <c:pt idx="600">
                  <c:v>1.0634157544284533</c:v>
                </c:pt>
                <c:pt idx="601">
                  <c:v>1.0885767055039473</c:v>
                </c:pt>
                <c:pt idx="602">
                  <c:v>1.1219260485477378</c:v>
                </c:pt>
                <c:pt idx="603">
                  <c:v>1.2142491636212001</c:v>
                </c:pt>
                <c:pt idx="604">
                  <c:v>1.2418504949990867</c:v>
                </c:pt>
                <c:pt idx="605">
                  <c:v>1.2656486576338863</c:v>
                </c:pt>
                <c:pt idx="606">
                  <c:v>1.3034660179905793</c:v>
                </c:pt>
                <c:pt idx="607">
                  <c:v>1.359358596594135</c:v>
                </c:pt>
                <c:pt idx="608">
                  <c:v>1.3670980422471477</c:v>
                </c:pt>
                <c:pt idx="609">
                  <c:v>1.3854711295388593</c:v>
                </c:pt>
                <c:pt idx="610">
                  <c:v>1.4037031537345264</c:v>
                </c:pt>
                <c:pt idx="611">
                  <c:v>1.4291240462075037</c:v>
                </c:pt>
                <c:pt idx="612">
                  <c:v>1.3694048585778742</c:v>
                </c:pt>
                <c:pt idx="613">
                  <c:v>1.3147276246206867</c:v>
                </c:pt>
                <c:pt idx="614">
                  <c:v>1.3194634750115859</c:v>
                </c:pt>
                <c:pt idx="615">
                  <c:v>1.2349840634705598</c:v>
                </c:pt>
                <c:pt idx="616">
                  <c:v>1.2135501427195523</c:v>
                </c:pt>
                <c:pt idx="617">
                  <c:v>1.1449651681671928</c:v>
                </c:pt>
                <c:pt idx="618">
                  <c:v>1.1108569836005509</c:v>
                </c:pt>
                <c:pt idx="619">
                  <c:v>1.0737369581223515</c:v>
                </c:pt>
                <c:pt idx="620">
                  <c:v>1.1039757556471264</c:v>
                </c:pt>
                <c:pt idx="621">
                  <c:v>1.1040481618197306</c:v>
                </c:pt>
                <c:pt idx="622">
                  <c:v>1.0994832535013155</c:v>
                </c:pt>
                <c:pt idx="623">
                  <c:v>1.0916312882627575</c:v>
                </c:pt>
                <c:pt idx="624">
                  <c:v>1.0619027937669281</c:v>
                </c:pt>
                <c:pt idx="625">
                  <c:v>0.97818024374974244</c:v>
                </c:pt>
                <c:pt idx="626">
                  <c:v>0.95972880249915371</c:v>
                </c:pt>
                <c:pt idx="627">
                  <c:v>0.95032972648982317</c:v>
                </c:pt>
                <c:pt idx="628">
                  <c:v>0.81716427101823541</c:v>
                </c:pt>
                <c:pt idx="629">
                  <c:v>0.71220463655434951</c:v>
                </c:pt>
                <c:pt idx="630">
                  <c:v>0.64109990669355654</c:v>
                </c:pt>
                <c:pt idx="631">
                  <c:v>0.46287569718506139</c:v>
                </c:pt>
                <c:pt idx="632">
                  <c:v>0.45120482161251285</c:v>
                </c:pt>
                <c:pt idx="633">
                  <c:v>0.4526979570508618</c:v>
                </c:pt>
                <c:pt idx="634">
                  <c:v>0.48189088091912979</c:v>
                </c:pt>
                <c:pt idx="635">
                  <c:v>0.48020755308559093</c:v>
                </c:pt>
                <c:pt idx="636">
                  <c:v>0.47970892613393001</c:v>
                </c:pt>
                <c:pt idx="637">
                  <c:v>0.48600969531971816</c:v>
                </c:pt>
                <c:pt idx="638">
                  <c:v>0.51306859470947419</c:v>
                </c:pt>
                <c:pt idx="639">
                  <c:v>0.52395643730863761</c:v>
                </c:pt>
                <c:pt idx="640">
                  <c:v>0.55099502640059361</c:v>
                </c:pt>
                <c:pt idx="641">
                  <c:v>0.54127352857341449</c:v>
                </c:pt>
                <c:pt idx="642">
                  <c:v>0.54894065779801027</c:v>
                </c:pt>
                <c:pt idx="643">
                  <c:v>0.56411888695056933</c:v>
                </c:pt>
                <c:pt idx="644">
                  <c:v>0.56857099484981299</c:v>
                </c:pt>
                <c:pt idx="645">
                  <c:v>0.56434148425247521</c:v>
                </c:pt>
                <c:pt idx="646">
                  <c:v>0.63303379751649969</c:v>
                </c:pt>
                <c:pt idx="647">
                  <c:v>0.80028125031806319</c:v>
                </c:pt>
                <c:pt idx="648">
                  <c:v>0.89123188879182669</c:v>
                </c:pt>
                <c:pt idx="649">
                  <c:v>0.97775805308298724</c:v>
                </c:pt>
                <c:pt idx="650">
                  <c:v>1.0959706128641253</c:v>
                </c:pt>
                <c:pt idx="651">
                  <c:v>1.1479207793351982</c:v>
                </c:pt>
                <c:pt idx="652">
                  <c:v>1.1630936085270631</c:v>
                </c:pt>
                <c:pt idx="653">
                  <c:v>1.2334660113479639</c:v>
                </c:pt>
                <c:pt idx="654">
                  <c:v>1.3195970522020433</c:v>
                </c:pt>
                <c:pt idx="655">
                  <c:v>1.3054865122073285</c:v>
                </c:pt>
                <c:pt idx="656">
                  <c:v>1.3807009735325737</c:v>
                </c:pt>
                <c:pt idx="657">
                  <c:v>1.4299363652951966</c:v>
                </c:pt>
                <c:pt idx="658">
                  <c:v>1.4860991247840045</c:v>
                </c:pt>
                <c:pt idx="659">
                  <c:v>1.5046963747080493</c:v>
                </c:pt>
                <c:pt idx="660">
                  <c:v>1.4693735664024385</c:v>
                </c:pt>
                <c:pt idx="661">
                  <c:v>1.4829787192845172</c:v>
                </c:pt>
                <c:pt idx="662">
                  <c:v>1.4931075994686334</c:v>
                </c:pt>
                <c:pt idx="663">
                  <c:v>1.517945374637381</c:v>
                </c:pt>
                <c:pt idx="664">
                  <c:v>1.49715321952634</c:v>
                </c:pt>
                <c:pt idx="665">
                  <c:v>1.4612698589050239</c:v>
                </c:pt>
                <c:pt idx="666">
                  <c:v>1.4505737631132238</c:v>
                </c:pt>
                <c:pt idx="667">
                  <c:v>1.4248103810603856</c:v>
                </c:pt>
                <c:pt idx="668">
                  <c:v>1.3691007731978295</c:v>
                </c:pt>
                <c:pt idx="669">
                  <c:v>1.3438820941299712</c:v>
                </c:pt>
                <c:pt idx="670">
                  <c:v>1.3586663098552203</c:v>
                </c:pt>
                <c:pt idx="671">
                  <c:v>1.3109975871906072</c:v>
                </c:pt>
                <c:pt idx="672">
                  <c:v>1.1829549743964891</c:v>
                </c:pt>
                <c:pt idx="673">
                  <c:v>1.1179857407801592</c:v>
                </c:pt>
                <c:pt idx="674">
                  <c:v>1.0828380696831679</c:v>
                </c:pt>
                <c:pt idx="675">
                  <c:v>1.0519752976006009</c:v>
                </c:pt>
                <c:pt idx="676">
                  <c:v>1.0433823846672403</c:v>
                </c:pt>
                <c:pt idx="677">
                  <c:v>1.0129732732082795</c:v>
                </c:pt>
                <c:pt idx="678">
                  <c:v>1.0193313858985049</c:v>
                </c:pt>
                <c:pt idx="679">
                  <c:v>0.99242144903192431</c:v>
                </c:pt>
                <c:pt idx="680">
                  <c:v>0.98680541614090744</c:v>
                </c:pt>
                <c:pt idx="681">
                  <c:v>0.99331264192382784</c:v>
                </c:pt>
                <c:pt idx="682">
                  <c:v>0.9401597800868422</c:v>
                </c:pt>
                <c:pt idx="683">
                  <c:v>0.93030954232705376</c:v>
                </c:pt>
                <c:pt idx="684">
                  <c:v>0.91426275056575346</c:v>
                </c:pt>
                <c:pt idx="685">
                  <c:v>0.91603654085349384</c:v>
                </c:pt>
                <c:pt idx="686">
                  <c:v>0.9451471917184433</c:v>
                </c:pt>
                <c:pt idx="687">
                  <c:v>0.92860996582694044</c:v>
                </c:pt>
                <c:pt idx="688">
                  <c:v>0.87822470945814302</c:v>
                </c:pt>
                <c:pt idx="689">
                  <c:v>0.85906589384379162</c:v>
                </c:pt>
                <c:pt idx="690">
                  <c:v>0.89196345773662067</c:v>
                </c:pt>
                <c:pt idx="691">
                  <c:v>0.8799125268500938</c:v>
                </c:pt>
                <c:pt idx="692">
                  <c:v>0.86070087833320552</c:v>
                </c:pt>
                <c:pt idx="693">
                  <c:v>0.8566335731333834</c:v>
                </c:pt>
                <c:pt idx="694">
                  <c:v>0.86798491074298978</c:v>
                </c:pt>
                <c:pt idx="695">
                  <c:v>0.85794431221814937</c:v>
                </c:pt>
                <c:pt idx="696">
                  <c:v>0.86878624343647459</c:v>
                </c:pt>
                <c:pt idx="697">
                  <c:v>0.85044636653445438</c:v>
                </c:pt>
                <c:pt idx="698">
                  <c:v>0.86323465236274921</c:v>
                </c:pt>
                <c:pt idx="699">
                  <c:v>0.88975807841698207</c:v>
                </c:pt>
                <c:pt idx="700">
                  <c:v>0.87441757126501329</c:v>
                </c:pt>
                <c:pt idx="701">
                  <c:v>0.85364460347016569</c:v>
                </c:pt>
                <c:pt idx="702">
                  <c:v>0.87594515725293332</c:v>
                </c:pt>
                <c:pt idx="703">
                  <c:v>0.85287238132997412</c:v>
                </c:pt>
                <c:pt idx="704">
                  <c:v>0.83396667742745167</c:v>
                </c:pt>
                <c:pt idx="705">
                  <c:v>0.83918367107091263</c:v>
                </c:pt>
                <c:pt idx="706">
                  <c:v>0.82706746394405029</c:v>
                </c:pt>
                <c:pt idx="707">
                  <c:v>0.825704586892821</c:v>
                </c:pt>
                <c:pt idx="708">
                  <c:v>0.82591592470349284</c:v>
                </c:pt>
                <c:pt idx="709">
                  <c:v>0.8296014394257718</c:v>
                </c:pt>
                <c:pt idx="710">
                  <c:v>0.84543271049425406</c:v>
                </c:pt>
                <c:pt idx="711">
                  <c:v>0.8385618187961188</c:v>
                </c:pt>
                <c:pt idx="712">
                  <c:v>0.82421444446892722</c:v>
                </c:pt>
                <c:pt idx="713">
                  <c:v>0.86451427197244546</c:v>
                </c:pt>
                <c:pt idx="714">
                  <c:v>0.84680190097841224</c:v>
                </c:pt>
                <c:pt idx="715">
                  <c:v>0.85521949563454513</c:v>
                </c:pt>
                <c:pt idx="716">
                  <c:v>0.82766649624360911</c:v>
                </c:pt>
                <c:pt idx="717">
                  <c:v>0.83073984407276269</c:v>
                </c:pt>
                <c:pt idx="718">
                  <c:v>0.84774208139914142</c:v>
                </c:pt>
                <c:pt idx="719">
                  <c:v>0.87893589540269046</c:v>
                </c:pt>
                <c:pt idx="720">
                  <c:v>0.8544575058919095</c:v>
                </c:pt>
                <c:pt idx="721">
                  <c:v>0.87150674014899443</c:v>
                </c:pt>
                <c:pt idx="722">
                  <c:v>0.8632829328829863</c:v>
                </c:pt>
                <c:pt idx="723">
                  <c:v>0.84227860264270293</c:v>
                </c:pt>
                <c:pt idx="724">
                  <c:v>0.88931928686905515</c:v>
                </c:pt>
                <c:pt idx="725">
                  <c:v>0.89944815775163467</c:v>
                </c:pt>
                <c:pt idx="726">
                  <c:v>0.89981219820315483</c:v>
                </c:pt>
                <c:pt idx="727">
                  <c:v>0.89023892411950345</c:v>
                </c:pt>
                <c:pt idx="728">
                  <c:v>0.93727427658374163</c:v>
                </c:pt>
                <c:pt idx="729">
                  <c:v>0.88167570635210413</c:v>
                </c:pt>
                <c:pt idx="730">
                  <c:v>0.89131983437100515</c:v>
                </c:pt>
                <c:pt idx="731">
                  <c:v>0.90959997621434252</c:v>
                </c:pt>
                <c:pt idx="732">
                  <c:v>0.92581065148033703</c:v>
                </c:pt>
                <c:pt idx="733">
                  <c:v>0.9431702410029692</c:v>
                </c:pt>
                <c:pt idx="734">
                  <c:v>0.98576031642384176</c:v>
                </c:pt>
                <c:pt idx="735">
                  <c:v>0.96094522800334015</c:v>
                </c:pt>
                <c:pt idx="736">
                  <c:v>0.96525358738964573</c:v>
                </c:pt>
                <c:pt idx="737">
                  <c:v>0.97712525758644486</c:v>
                </c:pt>
                <c:pt idx="738">
                  <c:v>0.99473608064961683</c:v>
                </c:pt>
                <c:pt idx="739">
                  <c:v>1.0154486333885191</c:v>
                </c:pt>
                <c:pt idx="740">
                  <c:v>0.99208415138879169</c:v>
                </c:pt>
                <c:pt idx="741">
                  <c:v>1.0072210962336854</c:v>
                </c:pt>
                <c:pt idx="742">
                  <c:v>1.0367675839586761</c:v>
                </c:pt>
                <c:pt idx="743">
                  <c:v>1.0446496127143625</c:v>
                </c:pt>
                <c:pt idx="744">
                  <c:v>1.0604535541347953</c:v>
                </c:pt>
                <c:pt idx="745">
                  <c:v>1.0539965272418934</c:v>
                </c:pt>
                <c:pt idx="746">
                  <c:v>1.0456852040263493</c:v>
                </c:pt>
                <c:pt idx="747">
                  <c:v>1.0901391963487288</c:v>
                </c:pt>
                <c:pt idx="748">
                  <c:v>1.1030599238094863</c:v>
                </c:pt>
                <c:pt idx="749">
                  <c:v>1.068817588457061</c:v>
                </c:pt>
                <c:pt idx="750">
                  <c:v>1.073009997339492</c:v>
                </c:pt>
                <c:pt idx="751">
                  <c:v>1.0616831688932542</c:v>
                </c:pt>
                <c:pt idx="752">
                  <c:v>1.0587074191775043</c:v>
                </c:pt>
                <c:pt idx="753">
                  <c:v>1.1033615715043141</c:v>
                </c:pt>
                <c:pt idx="754">
                  <c:v>1.0663866218607954</c:v>
                </c:pt>
                <c:pt idx="755">
                  <c:v>1.0724968038837823</c:v>
                </c:pt>
                <c:pt idx="756">
                  <c:v>1.0667775376806179</c:v>
                </c:pt>
                <c:pt idx="757">
                  <c:v>1.0493784361355292</c:v>
                </c:pt>
                <c:pt idx="758">
                  <c:v>1.0362703111181133</c:v>
                </c:pt>
                <c:pt idx="759">
                  <c:v>1.0685550974135762</c:v>
                </c:pt>
                <c:pt idx="760">
                  <c:v>1.0771710375158035</c:v>
                </c:pt>
                <c:pt idx="761">
                  <c:v>1.0782340282692455</c:v>
                </c:pt>
                <c:pt idx="762">
                  <c:v>1.0645051152211567</c:v>
                </c:pt>
                <c:pt idx="763">
                  <c:v>1.0872647110303821</c:v>
                </c:pt>
                <c:pt idx="764">
                  <c:v>1.0786279760494426</c:v>
                </c:pt>
                <c:pt idx="765">
                  <c:v>1.1038515492740133</c:v>
                </c:pt>
                <c:pt idx="766">
                  <c:v>1.0945012321600975</c:v>
                </c:pt>
                <c:pt idx="767">
                  <c:v>1.1054193249290649</c:v>
                </c:pt>
                <c:pt idx="768">
                  <c:v>1.0760211129449668</c:v>
                </c:pt>
                <c:pt idx="769">
                  <c:v>1.0647606015283138</c:v>
                </c:pt>
                <c:pt idx="770">
                  <c:v>1.067652086226994</c:v>
                </c:pt>
                <c:pt idx="771">
                  <c:v>1.0501189245917617</c:v>
                </c:pt>
                <c:pt idx="772">
                  <c:v>1.0279630472251338</c:v>
                </c:pt>
                <c:pt idx="773">
                  <c:v>0.99961238042860989</c:v>
                </c:pt>
                <c:pt idx="774">
                  <c:v>1.0127292778760262</c:v>
                </c:pt>
                <c:pt idx="775">
                  <c:v>1.0287412973371521</c:v>
                </c:pt>
                <c:pt idx="776">
                  <c:v>1.0311049315736296</c:v>
                </c:pt>
                <c:pt idx="777">
                  <c:v>1.0294182223988178</c:v>
                </c:pt>
                <c:pt idx="778">
                  <c:v>1.0144668116827866</c:v>
                </c:pt>
                <c:pt idx="779">
                  <c:v>1.0295289344381509</c:v>
                </c:pt>
                <c:pt idx="780">
                  <c:v>1.033375913116561</c:v>
                </c:pt>
                <c:pt idx="781">
                  <c:v>1.0303861869316999</c:v>
                </c:pt>
                <c:pt idx="782">
                  <c:v>1.0436274457251948</c:v>
                </c:pt>
                <c:pt idx="783">
                  <c:v>1.0196851404194887</c:v>
                </c:pt>
                <c:pt idx="784">
                  <c:v>1.0062708929306639</c:v>
                </c:pt>
                <c:pt idx="785">
                  <c:v>0.99744159294965917</c:v>
                </c:pt>
                <c:pt idx="786">
                  <c:v>1.0041564431876366</c:v>
                </c:pt>
                <c:pt idx="787">
                  <c:v>1.0142522575417092</c:v>
                </c:pt>
                <c:pt idx="788">
                  <c:v>1.0119615717756705</c:v>
                </c:pt>
                <c:pt idx="789">
                  <c:v>0.98378164006889768</c:v>
                </c:pt>
                <c:pt idx="790">
                  <c:v>0.9543450407913221</c:v>
                </c:pt>
                <c:pt idx="791">
                  <c:v>0.92680590692763687</c:v>
                </c:pt>
                <c:pt idx="792">
                  <c:v>0.96610526405947716</c:v>
                </c:pt>
                <c:pt idx="793">
                  <c:v>0.94695351435755493</c:v>
                </c:pt>
                <c:pt idx="794">
                  <c:v>0.9453910251288633</c:v>
                </c:pt>
                <c:pt idx="795">
                  <c:v>0.95650191895720305</c:v>
                </c:pt>
                <c:pt idx="796">
                  <c:v>0.96174145477148687</c:v>
                </c:pt>
                <c:pt idx="797">
                  <c:v>0.92287716448252444</c:v>
                </c:pt>
                <c:pt idx="798">
                  <c:v>0.95251102841782909</c:v>
                </c:pt>
                <c:pt idx="799">
                  <c:v>0.95986672592378608</c:v>
                </c:pt>
                <c:pt idx="800">
                  <c:v>0.95418500651480542</c:v>
                </c:pt>
                <c:pt idx="801">
                  <c:v>0.9630951514031818</c:v>
                </c:pt>
                <c:pt idx="802">
                  <c:v>0.96924128844283475</c:v>
                </c:pt>
                <c:pt idx="803">
                  <c:v>0.97078901318060318</c:v>
                </c:pt>
                <c:pt idx="804">
                  <c:v>0.93151453437459519</c:v>
                </c:pt>
                <c:pt idx="805">
                  <c:v>0.92543895204091475</c:v>
                </c:pt>
                <c:pt idx="806">
                  <c:v>0.92110708627071114</c:v>
                </c:pt>
                <c:pt idx="807">
                  <c:v>0.8757070308853947</c:v>
                </c:pt>
                <c:pt idx="808">
                  <c:v>0.87505248513998168</c:v>
                </c:pt>
                <c:pt idx="809">
                  <c:v>0.87302673703340661</c:v>
                </c:pt>
                <c:pt idx="810">
                  <c:v>0.86988854902477031</c:v>
                </c:pt>
                <c:pt idx="811">
                  <c:v>0.87129270792330149</c:v>
                </c:pt>
                <c:pt idx="812">
                  <c:v>0.85955775674826906</c:v>
                </c:pt>
                <c:pt idx="813">
                  <c:v>0.87423799225973742</c:v>
                </c:pt>
                <c:pt idx="814">
                  <c:v>0.8700225733994924</c:v>
                </c:pt>
                <c:pt idx="815">
                  <c:v>0.88632657091585165</c:v>
                </c:pt>
                <c:pt idx="816">
                  <c:v>0.94021333778471949</c:v>
                </c:pt>
                <c:pt idx="817">
                  <c:v>0.93093669561901571</c:v>
                </c:pt>
                <c:pt idx="818">
                  <c:v>0.91606051116536191</c:v>
                </c:pt>
                <c:pt idx="819">
                  <c:v>0.92082415469249757</c:v>
                </c:pt>
                <c:pt idx="820">
                  <c:v>0.89282883914946187</c:v>
                </c:pt>
                <c:pt idx="821">
                  <c:v>0.90285342697024329</c:v>
                </c:pt>
                <c:pt idx="822">
                  <c:v>0.90276991117163563</c:v>
                </c:pt>
                <c:pt idx="823">
                  <c:v>0.90084378859830272</c:v>
                </c:pt>
                <c:pt idx="824">
                  <c:v>0.9227898959910521</c:v>
                </c:pt>
                <c:pt idx="825">
                  <c:v>0.89387720062053622</c:v>
                </c:pt>
                <c:pt idx="826">
                  <c:v>0.8958989561218369</c:v>
                </c:pt>
                <c:pt idx="827">
                  <c:v>0.95514125792294879</c:v>
                </c:pt>
                <c:pt idx="828">
                  <c:v>0.91374468713867407</c:v>
                </c:pt>
                <c:pt idx="829">
                  <c:v>0.90870436130699028</c:v>
                </c:pt>
                <c:pt idx="830">
                  <c:v>0.90946953055502777</c:v>
                </c:pt>
                <c:pt idx="831">
                  <c:v>0.90004439498470545</c:v>
                </c:pt>
                <c:pt idx="832">
                  <c:v>0.89652689823171117</c:v>
                </c:pt>
                <c:pt idx="833">
                  <c:v>0.93473535002223973</c:v>
                </c:pt>
                <c:pt idx="834">
                  <c:v>0.94661059804332792</c:v>
                </c:pt>
                <c:pt idx="835">
                  <c:v>0.97340081588373439</c:v>
                </c:pt>
                <c:pt idx="836">
                  <c:v>1.0085071474859932</c:v>
                </c:pt>
                <c:pt idx="837">
                  <c:v>1.0169030654873807</c:v>
                </c:pt>
                <c:pt idx="838">
                  <c:v>1.0231972123556214</c:v>
                </c:pt>
                <c:pt idx="839">
                  <c:v>1.0167020823527337</c:v>
                </c:pt>
                <c:pt idx="840">
                  <c:v>1.0246754915389922</c:v>
                </c:pt>
                <c:pt idx="841">
                  <c:v>1.0354942163120877</c:v>
                </c:pt>
                <c:pt idx="842">
                  <c:v>1.028143271563404</c:v>
                </c:pt>
                <c:pt idx="843">
                  <c:v>1.0049834202925931</c:v>
                </c:pt>
                <c:pt idx="844">
                  <c:v>1.0625091424578279</c:v>
                </c:pt>
                <c:pt idx="845">
                  <c:v>1.0356547585405425</c:v>
                </c:pt>
                <c:pt idx="846">
                  <c:v>1.0041041582822507</c:v>
                </c:pt>
                <c:pt idx="847">
                  <c:v>1.0425543993692734</c:v>
                </c:pt>
                <c:pt idx="848">
                  <c:v>1.0529994784165635</c:v>
                </c:pt>
                <c:pt idx="849">
                  <c:v>1.0307668497129208</c:v>
                </c:pt>
                <c:pt idx="850">
                  <c:v>1.0519563479426632</c:v>
                </c:pt>
                <c:pt idx="851">
                  <c:v>1.0468014242537349</c:v>
                </c:pt>
                <c:pt idx="852">
                  <c:v>1.0236639493519235</c:v>
                </c:pt>
                <c:pt idx="853">
                  <c:v>1.0511958412462588</c:v>
                </c:pt>
                <c:pt idx="854">
                  <c:v>1.0089442101650172</c:v>
                </c:pt>
                <c:pt idx="855">
                  <c:v>0.99144116242867963</c:v>
                </c:pt>
                <c:pt idx="856">
                  <c:v>1.0066489662938765</c:v>
                </c:pt>
                <c:pt idx="857">
                  <c:v>1.0140186460561571</c:v>
                </c:pt>
                <c:pt idx="858">
                  <c:v>1.0251018023216341</c:v>
                </c:pt>
                <c:pt idx="859">
                  <c:v>1.0577050832948403</c:v>
                </c:pt>
                <c:pt idx="860">
                  <c:v>1.0714478064832222</c:v>
                </c:pt>
                <c:pt idx="861">
                  <c:v>1.0823010858687712</c:v>
                </c:pt>
                <c:pt idx="862">
                  <c:v>1.0895206449114851</c:v>
                </c:pt>
                <c:pt idx="863">
                  <c:v>1.04963637173129</c:v>
                </c:pt>
                <c:pt idx="864">
                  <c:v>1.0775224840673197</c:v>
                </c:pt>
                <c:pt idx="865">
                  <c:v>1.0659326880389215</c:v>
                </c:pt>
                <c:pt idx="866">
                  <c:v>1.0412573586884388</c:v>
                </c:pt>
                <c:pt idx="867">
                  <c:v>1.0200237577533215</c:v>
                </c:pt>
                <c:pt idx="868">
                  <c:v>1.0155410242797356</c:v>
                </c:pt>
                <c:pt idx="869">
                  <c:v>0.99835709150389484</c:v>
                </c:pt>
                <c:pt idx="870">
                  <c:v>1.0038945033802493</c:v>
                </c:pt>
                <c:pt idx="871">
                  <c:v>1.0287674913461096</c:v>
                </c:pt>
                <c:pt idx="872">
                  <c:v>1.048568726178901</c:v>
                </c:pt>
                <c:pt idx="873">
                  <c:v>1.0687958905605146</c:v>
                </c:pt>
                <c:pt idx="874">
                  <c:v>1.0646645575225568</c:v>
                </c:pt>
                <c:pt idx="875">
                  <c:v>1.0669405815222894</c:v>
                </c:pt>
                <c:pt idx="876">
                  <c:v>1.0614737396928215</c:v>
                </c:pt>
                <c:pt idx="877">
                  <c:v>1.0659315096297777</c:v>
                </c:pt>
                <c:pt idx="878">
                  <c:v>1.0612095398450625</c:v>
                </c:pt>
                <c:pt idx="879">
                  <c:v>1.0786542942427084</c:v>
                </c:pt>
                <c:pt idx="880">
                  <c:v>1.0667408277076529</c:v>
                </c:pt>
                <c:pt idx="881">
                  <c:v>1.0522477949785938</c:v>
                </c:pt>
                <c:pt idx="882">
                  <c:v>1.0499834274218152</c:v>
                </c:pt>
                <c:pt idx="883">
                  <c:v>1.0214546107421392</c:v>
                </c:pt>
                <c:pt idx="884">
                  <c:v>1.0206909239359252</c:v>
                </c:pt>
                <c:pt idx="885">
                  <c:v>1.0579367771067143</c:v>
                </c:pt>
                <c:pt idx="886">
                  <c:v>1.0723273988833524</c:v>
                </c:pt>
                <c:pt idx="887">
                  <c:v>1.0562308137551939</c:v>
                </c:pt>
                <c:pt idx="888">
                  <c:v>1.0096867178453104</c:v>
                </c:pt>
                <c:pt idx="889">
                  <c:v>1.0010838045860309</c:v>
                </c:pt>
                <c:pt idx="890">
                  <c:v>1.0302736835408601</c:v>
                </c:pt>
                <c:pt idx="891">
                  <c:v>1.0325603751856194</c:v>
                </c:pt>
                <c:pt idx="892">
                  <c:v>1.0385099537764222</c:v>
                </c:pt>
                <c:pt idx="893">
                  <c:v>0.99776193566637494</c:v>
                </c:pt>
                <c:pt idx="894">
                  <c:v>0.9639200759924802</c:v>
                </c:pt>
                <c:pt idx="895">
                  <c:v>0.96582645743957296</c:v>
                </c:pt>
                <c:pt idx="896">
                  <c:v>0.95371267108939906</c:v>
                </c:pt>
                <c:pt idx="897">
                  <c:v>0.9485971599387375</c:v>
                </c:pt>
                <c:pt idx="898">
                  <c:v>0.9371720146341731</c:v>
                </c:pt>
                <c:pt idx="899">
                  <c:v>0.93629760730542144</c:v>
                </c:pt>
                <c:pt idx="900">
                  <c:v>0.93382648520274447</c:v>
                </c:pt>
                <c:pt idx="901">
                  <c:v>0.91730966587501483</c:v>
                </c:pt>
                <c:pt idx="902">
                  <c:v>0.92694253790741277</c:v>
                </c:pt>
                <c:pt idx="903">
                  <c:v>0.9398579687653732</c:v>
                </c:pt>
                <c:pt idx="904">
                  <c:v>0.97484381734989678</c:v>
                </c:pt>
                <c:pt idx="905">
                  <c:v>0.99593075985091217</c:v>
                </c:pt>
                <c:pt idx="906">
                  <c:v>1.0095963600717441</c:v>
                </c:pt>
                <c:pt idx="907">
                  <c:v>0.9827526166845062</c:v>
                </c:pt>
                <c:pt idx="908">
                  <c:v>0.99531348552010712</c:v>
                </c:pt>
                <c:pt idx="909">
                  <c:v>1.0000183243196989</c:v>
                </c:pt>
                <c:pt idx="910">
                  <c:v>1.0147865763462716</c:v>
                </c:pt>
                <c:pt idx="911">
                  <c:v>1.0387134982366943</c:v>
                </c:pt>
                <c:pt idx="912">
                  <c:v>1.0500213661302205</c:v>
                </c:pt>
                <c:pt idx="913">
                  <c:v>1.0560264871646581</c:v>
                </c:pt>
                <c:pt idx="914">
                  <c:v>1.0579929909574766</c:v>
                </c:pt>
                <c:pt idx="915">
                  <c:v>1.0181864455104843</c:v>
                </c:pt>
                <c:pt idx="916">
                  <c:v>1.0186244860431062</c:v>
                </c:pt>
                <c:pt idx="917">
                  <c:v>1.0252761378513087</c:v>
                </c:pt>
                <c:pt idx="918">
                  <c:v>1.0985381416449094</c:v>
                </c:pt>
                <c:pt idx="919">
                  <c:v>1.0566758236764329</c:v>
                </c:pt>
                <c:pt idx="920">
                  <c:v>1.0449976039492106</c:v>
                </c:pt>
                <c:pt idx="921">
                  <c:v>1.0169996543652235</c:v>
                </c:pt>
                <c:pt idx="922">
                  <c:v>1.0290105094069721</c:v>
                </c:pt>
                <c:pt idx="923">
                  <c:v>1.0693282818952581</c:v>
                </c:pt>
                <c:pt idx="924">
                  <c:v>1.0653182605919238</c:v>
                </c:pt>
                <c:pt idx="925">
                  <c:v>1.0852689018015276</c:v>
                </c:pt>
                <c:pt idx="926">
                  <c:v>1.0863391711549757</c:v>
                </c:pt>
                <c:pt idx="927">
                  <c:v>1.1026334769504678</c:v>
                </c:pt>
                <c:pt idx="928">
                  <c:v>1.0884607399574517</c:v>
                </c:pt>
                <c:pt idx="929">
                  <c:v>1.1332902123631172</c:v>
                </c:pt>
                <c:pt idx="930">
                  <c:v>1.1450896052107928</c:v>
                </c:pt>
                <c:pt idx="931">
                  <c:v>1.1342700000303505</c:v>
                </c:pt>
                <c:pt idx="932">
                  <c:v>1.1051107380901748</c:v>
                </c:pt>
                <c:pt idx="933">
                  <c:v>1.1182772083326009</c:v>
                </c:pt>
                <c:pt idx="934">
                  <c:v>1.078573734701511</c:v>
                </c:pt>
                <c:pt idx="935">
                  <c:v>1.056499828496922</c:v>
                </c:pt>
                <c:pt idx="936">
                  <c:v>1.0565374874244211</c:v>
                </c:pt>
                <c:pt idx="937">
                  <c:v>1.0674907356598133</c:v>
                </c:pt>
                <c:pt idx="938">
                  <c:v>1.0470429716106786</c:v>
                </c:pt>
                <c:pt idx="939">
                  <c:v>1.0354698653345265</c:v>
                </c:pt>
                <c:pt idx="940">
                  <c:v>1.0614525730710633</c:v>
                </c:pt>
                <c:pt idx="941">
                  <c:v>1.0445135826310443</c:v>
                </c:pt>
                <c:pt idx="942">
                  <c:v>1.0563992783034655</c:v>
                </c:pt>
                <c:pt idx="943">
                  <c:v>1.0544514166380448</c:v>
                </c:pt>
                <c:pt idx="944">
                  <c:v>1.0494642552959039</c:v>
                </c:pt>
                <c:pt idx="945">
                  <c:v>1.0842421159646212</c:v>
                </c:pt>
                <c:pt idx="946">
                  <c:v>1.0749378768167694</c:v>
                </c:pt>
                <c:pt idx="947">
                  <c:v>1.0863309493708961</c:v>
                </c:pt>
                <c:pt idx="948">
                  <c:v>1.0319441429075231</c:v>
                </c:pt>
                <c:pt idx="949">
                  <c:v>1.0443968682543006</c:v>
                </c:pt>
                <c:pt idx="950">
                  <c:v>1.0124237642966123</c:v>
                </c:pt>
                <c:pt idx="951">
                  <c:v>1.0241028063390627</c:v>
                </c:pt>
                <c:pt idx="952">
                  <c:v>1.0428028077108911</c:v>
                </c:pt>
                <c:pt idx="953">
                  <c:v>0.99053662289995614</c:v>
                </c:pt>
                <c:pt idx="954">
                  <c:v>0.9886910115586458</c:v>
                </c:pt>
                <c:pt idx="955">
                  <c:v>0.99635805980708292</c:v>
                </c:pt>
                <c:pt idx="956">
                  <c:v>0.99779518827435942</c:v>
                </c:pt>
                <c:pt idx="957">
                  <c:v>1.0243818828126596</c:v>
                </c:pt>
                <c:pt idx="958">
                  <c:v>1.0607115688091957</c:v>
                </c:pt>
                <c:pt idx="959">
                  <c:v>1.061154875760193</c:v>
                </c:pt>
                <c:pt idx="960">
                  <c:v>1.044349731858043</c:v>
                </c:pt>
                <c:pt idx="961">
                  <c:v>1.0690989063568088</c:v>
                </c:pt>
                <c:pt idx="962">
                  <c:v>1.0830871972172778</c:v>
                </c:pt>
                <c:pt idx="963">
                  <c:v>1.0430108451907061</c:v>
                </c:pt>
                <c:pt idx="964">
                  <c:v>1.0613332675611777</c:v>
                </c:pt>
                <c:pt idx="965">
                  <c:v>1.0944447952137126</c:v>
                </c:pt>
                <c:pt idx="966">
                  <c:v>1.0532258081907535</c:v>
                </c:pt>
                <c:pt idx="967">
                  <c:v>1.0448528431999642</c:v>
                </c:pt>
                <c:pt idx="968">
                  <c:v>1.0648213525673</c:v>
                </c:pt>
                <c:pt idx="969">
                  <c:v>1.1128469097310956</c:v>
                </c:pt>
                <c:pt idx="970">
                  <c:v>1.121464790074391</c:v>
                </c:pt>
                <c:pt idx="971">
                  <c:v>1.1385073194278246</c:v>
                </c:pt>
                <c:pt idx="972">
                  <c:v>1.1700298213025651</c:v>
                </c:pt>
                <c:pt idx="973">
                  <c:v>1.1813422333928156</c:v>
                </c:pt>
                <c:pt idx="974">
                  <c:v>1.184429960154967</c:v>
                </c:pt>
                <c:pt idx="975">
                  <c:v>1.1627197451581943</c:v>
                </c:pt>
                <c:pt idx="976">
                  <c:v>1.1415596057106911</c:v>
                </c:pt>
                <c:pt idx="977">
                  <c:v>1.1236682468072463</c:v>
                </c:pt>
                <c:pt idx="978">
                  <c:v>1.1097840815672502</c:v>
                </c:pt>
                <c:pt idx="979">
                  <c:v>1.1299007382931858</c:v>
                </c:pt>
                <c:pt idx="980">
                  <c:v>1.1404080015119367</c:v>
                </c:pt>
                <c:pt idx="981">
                  <c:v>1.1028829775038671</c:v>
                </c:pt>
                <c:pt idx="982">
                  <c:v>1.0698772778587473</c:v>
                </c:pt>
                <c:pt idx="983">
                  <c:v>1.1048524287118078</c:v>
                </c:pt>
                <c:pt idx="984">
                  <c:v>1.1036745205848384</c:v>
                </c:pt>
                <c:pt idx="985">
                  <c:v>1.077182001083844</c:v>
                </c:pt>
                <c:pt idx="986">
                  <c:v>1.0906229124756897</c:v>
                </c:pt>
                <c:pt idx="987">
                  <c:v>1.0755855966684309</c:v>
                </c:pt>
                <c:pt idx="988">
                  <c:v>1.0928534644769212</c:v>
                </c:pt>
                <c:pt idx="989">
                  <c:v>1.0801439942191231</c:v>
                </c:pt>
                <c:pt idx="990">
                  <c:v>1.0975171407867557</c:v>
                </c:pt>
                <c:pt idx="991">
                  <c:v>1.0935372809620942</c:v>
                </c:pt>
                <c:pt idx="992">
                  <c:v>1.1039276311406176</c:v>
                </c:pt>
                <c:pt idx="993">
                  <c:v>1.1155700939260385</c:v>
                </c:pt>
                <c:pt idx="994">
                  <c:v>1.0961157238273276</c:v>
                </c:pt>
                <c:pt idx="995">
                  <c:v>1.0472876966368854</c:v>
                </c:pt>
                <c:pt idx="996">
                  <c:v>1.0637482504184619</c:v>
                </c:pt>
                <c:pt idx="997">
                  <c:v>1.0378509457360643</c:v>
                </c:pt>
                <c:pt idx="998">
                  <c:v>1.0303553865124664</c:v>
                </c:pt>
                <c:pt idx="999">
                  <c:v>0.98645502823567699</c:v>
                </c:pt>
                <c:pt idx="1000">
                  <c:v>0.98576662193248588</c:v>
                </c:pt>
                <c:pt idx="1001">
                  <c:v>0.95142994442406192</c:v>
                </c:pt>
                <c:pt idx="1002">
                  <c:v>0.92454560606457781</c:v>
                </c:pt>
                <c:pt idx="1003">
                  <c:v>0.93100708665554133</c:v>
                </c:pt>
                <c:pt idx="1004">
                  <c:v>0.91980294396166173</c:v>
                </c:pt>
                <c:pt idx="1005">
                  <c:v>0.9254972698860231</c:v>
                </c:pt>
                <c:pt idx="1006">
                  <c:v>0.91661411390845982</c:v>
                </c:pt>
                <c:pt idx="1007">
                  <c:v>0.94242877223411781</c:v>
                </c:pt>
                <c:pt idx="1008">
                  <c:v>1.0086298612492544</c:v>
                </c:pt>
                <c:pt idx="1009">
                  <c:v>0.97590853086852425</c:v>
                </c:pt>
                <c:pt idx="1010">
                  <c:v>0.97947335827277549</c:v>
                </c:pt>
                <c:pt idx="1011">
                  <c:v>0.97115306937542711</c:v>
                </c:pt>
                <c:pt idx="1012">
                  <c:v>0.98537801490293409</c:v>
                </c:pt>
                <c:pt idx="1013">
                  <c:v>0.97581599692151655</c:v>
                </c:pt>
                <c:pt idx="1014">
                  <c:v>0.98988090819969998</c:v>
                </c:pt>
                <c:pt idx="1015">
                  <c:v>1.0023031180796114</c:v>
                </c:pt>
                <c:pt idx="1016">
                  <c:v>0.98723598679211211</c:v>
                </c:pt>
                <c:pt idx="1017">
                  <c:v>1.0115743352237798</c:v>
                </c:pt>
                <c:pt idx="1018">
                  <c:v>0.99781790447603069</c:v>
                </c:pt>
                <c:pt idx="1019">
                  <c:v>0.96034305059043712</c:v>
                </c:pt>
                <c:pt idx="1020">
                  <c:v>0.96263403403030612</c:v>
                </c:pt>
                <c:pt idx="1021">
                  <c:v>0.95477466542347145</c:v>
                </c:pt>
                <c:pt idx="1022">
                  <c:v>0.97803029554950727</c:v>
                </c:pt>
                <c:pt idx="1023">
                  <c:v>0.95936181092529149</c:v>
                </c:pt>
                <c:pt idx="1024">
                  <c:v>0.98791005193944859</c:v>
                </c:pt>
                <c:pt idx="1025">
                  <c:v>0.9803455074501537</c:v>
                </c:pt>
                <c:pt idx="1026">
                  <c:v>0.95619387379883891</c:v>
                </c:pt>
                <c:pt idx="1027">
                  <c:v>1.0175518162649757</c:v>
                </c:pt>
                <c:pt idx="1028">
                  <c:v>1.0034519107104871</c:v>
                </c:pt>
                <c:pt idx="1029">
                  <c:v>1.0063773937299052</c:v>
                </c:pt>
                <c:pt idx="1030">
                  <c:v>0.98780472805351494</c:v>
                </c:pt>
                <c:pt idx="1031">
                  <c:v>1.0107582171401055</c:v>
                </c:pt>
                <c:pt idx="1032">
                  <c:v>1.0232691593570995</c:v>
                </c:pt>
                <c:pt idx="1033">
                  <c:v>1.0214093295409645</c:v>
                </c:pt>
                <c:pt idx="1034">
                  <c:v>1.0299370740682749</c:v>
                </c:pt>
                <c:pt idx="1035">
                  <c:v>1.0348225025876256</c:v>
                </c:pt>
                <c:pt idx="1036">
                  <c:v>1.0553356466988639</c:v>
                </c:pt>
                <c:pt idx="1037">
                  <c:v>1.0689868691664366</c:v>
                </c:pt>
                <c:pt idx="1038">
                  <c:v>1.0048182397706227</c:v>
                </c:pt>
                <c:pt idx="1039">
                  <c:v>0.99975116184224966</c:v>
                </c:pt>
                <c:pt idx="1040">
                  <c:v>0.98116255373616168</c:v>
                </c:pt>
                <c:pt idx="1041">
                  <c:v>1.0014356364480583</c:v>
                </c:pt>
                <c:pt idx="1042">
                  <c:v>1.0274018662537427</c:v>
                </c:pt>
                <c:pt idx="1043">
                  <c:v>1.0681094722527</c:v>
                </c:pt>
                <c:pt idx="1044">
                  <c:v>1.1081016222652047</c:v>
                </c:pt>
                <c:pt idx="1045">
                  <c:v>1.1282983859060634</c:v>
                </c:pt>
                <c:pt idx="1046">
                  <c:v>1.121205249269404</c:v>
                </c:pt>
                <c:pt idx="1047">
                  <c:v>1.1100091018356588</c:v>
                </c:pt>
                <c:pt idx="1048">
                  <c:v>1.1361664864722509</c:v>
                </c:pt>
                <c:pt idx="1049">
                  <c:v>1.1969488644870647</c:v>
                </c:pt>
                <c:pt idx="1050">
                  <c:v>1.2337448544585012</c:v>
                </c:pt>
                <c:pt idx="1051">
                  <c:v>1.2357827487330562</c:v>
                </c:pt>
                <c:pt idx="1052">
                  <c:v>1.2386516452085807</c:v>
                </c:pt>
                <c:pt idx="1053">
                  <c:v>1.2772553360766807</c:v>
                </c:pt>
                <c:pt idx="1054">
                  <c:v>1.2442626296269068</c:v>
                </c:pt>
                <c:pt idx="1055">
                  <c:v>1.2833455840900063</c:v>
                </c:pt>
                <c:pt idx="1056">
                  <c:v>1.2898330470548991</c:v>
                </c:pt>
                <c:pt idx="1057">
                  <c:v>1.2505136005099333</c:v>
                </c:pt>
                <c:pt idx="1058">
                  <c:v>1.2068076969809789</c:v>
                </c:pt>
                <c:pt idx="1059">
                  <c:v>1.1967411674707082</c:v>
                </c:pt>
                <c:pt idx="1060">
                  <c:v>1.1939976460750883</c:v>
                </c:pt>
                <c:pt idx="1061">
                  <c:v>1.1946375746064122</c:v>
                </c:pt>
                <c:pt idx="1062">
                  <c:v>1.1906506303514248</c:v>
                </c:pt>
                <c:pt idx="1063">
                  <c:v>1.122556853005956</c:v>
                </c:pt>
                <c:pt idx="1064">
                  <c:v>1.0521831725438091</c:v>
                </c:pt>
                <c:pt idx="1065">
                  <c:v>0.90148628079114923</c:v>
                </c:pt>
                <c:pt idx="1066">
                  <c:v>0.86700581537543764</c:v>
                </c:pt>
                <c:pt idx="1067">
                  <c:v>0.80703776471770272</c:v>
                </c:pt>
                <c:pt idx="1068">
                  <c:v>0.69117621201263302</c:v>
                </c:pt>
                <c:pt idx="1069">
                  <c:v>0.52521209361759391</c:v>
                </c:pt>
                <c:pt idx="1070">
                  <c:v>0.47747097291246199</c:v>
                </c:pt>
                <c:pt idx="1071">
                  <c:v>0.47028408928343102</c:v>
                </c:pt>
                <c:pt idx="1072">
                  <c:v>0.46947069802337027</c:v>
                </c:pt>
                <c:pt idx="1073">
                  <c:v>0.483388337576379</c:v>
                </c:pt>
                <c:pt idx="1074">
                  <c:v>0.52626589386070077</c:v>
                </c:pt>
                <c:pt idx="1075">
                  <c:v>0.53737549381758476</c:v>
                </c:pt>
                <c:pt idx="1076">
                  <c:v>0.54235313803925322</c:v>
                </c:pt>
                <c:pt idx="1077">
                  <c:v>0.55325916734992475</c:v>
                </c:pt>
                <c:pt idx="1078">
                  <c:v>0.54956347607519107</c:v>
                </c:pt>
                <c:pt idx="1079">
                  <c:v>0.57472335168196764</c:v>
                </c:pt>
                <c:pt idx="1080">
                  <c:v>0.5605302448780265</c:v>
                </c:pt>
                <c:pt idx="1081">
                  <c:v>0.57275103436144992</c:v>
                </c:pt>
                <c:pt idx="1082">
                  <c:v>0.57620466184422714</c:v>
                </c:pt>
                <c:pt idx="1083">
                  <c:v>0.57066759570291814</c:v>
                </c:pt>
                <c:pt idx="1084">
                  <c:v>0.6147011092018082</c:v>
                </c:pt>
                <c:pt idx="1085">
                  <c:v>0.77114348850598868</c:v>
                </c:pt>
                <c:pt idx="1086">
                  <c:v>0.83701307979250106</c:v>
                </c:pt>
                <c:pt idx="1087">
                  <c:v>0.88123197883095616</c:v>
                </c:pt>
                <c:pt idx="1088">
                  <c:v>0.96899125964588229</c:v>
                </c:pt>
                <c:pt idx="1089">
                  <c:v>1.0699433169664223</c:v>
                </c:pt>
                <c:pt idx="1090">
                  <c:v>1.093637729432916</c:v>
                </c:pt>
                <c:pt idx="1091">
                  <c:v>1.1740238422876457</c:v>
                </c:pt>
                <c:pt idx="1092">
                  <c:v>1.1656332673379863</c:v>
                </c:pt>
                <c:pt idx="1093">
                  <c:v>1.2247989168434497</c:v>
                </c:pt>
                <c:pt idx="1094">
                  <c:v>1.221078432781795</c:v>
                </c:pt>
                <c:pt idx="1095">
                  <c:v>1.2662597591921381</c:v>
                </c:pt>
                <c:pt idx="1096">
                  <c:v>1.3413081817898911</c:v>
                </c:pt>
                <c:pt idx="1097">
                  <c:v>1.3945018669915343</c:v>
                </c:pt>
                <c:pt idx="1098">
                  <c:v>1.385129396907113</c:v>
                </c:pt>
                <c:pt idx="1099">
                  <c:v>1.3852799450418549</c:v>
                </c:pt>
                <c:pt idx="1100">
                  <c:v>1.3251568407789784</c:v>
                </c:pt>
                <c:pt idx="1101">
                  <c:v>1.3388361535254918</c:v>
                </c:pt>
                <c:pt idx="1102">
                  <c:v>1.3703366541730446</c:v>
                </c:pt>
                <c:pt idx="1103">
                  <c:v>1.3426885469668095</c:v>
                </c:pt>
                <c:pt idx="1104">
                  <c:v>1.2747499787636718</c:v>
                </c:pt>
                <c:pt idx="1105">
                  <c:v>1.25726654787721</c:v>
                </c:pt>
                <c:pt idx="1106">
                  <c:v>1.286485290612754</c:v>
                </c:pt>
                <c:pt idx="1107">
                  <c:v>1.3353336768380097</c:v>
                </c:pt>
                <c:pt idx="1108">
                  <c:v>1.3220712474686149</c:v>
                </c:pt>
                <c:pt idx="1109">
                  <c:v>1.2374202265356946</c:v>
                </c:pt>
                <c:pt idx="1110">
                  <c:v>1.2341391034940075</c:v>
                </c:pt>
                <c:pt idx="1111">
                  <c:v>1.141544783651925</c:v>
                </c:pt>
                <c:pt idx="1112">
                  <c:v>1.0443316104096467</c:v>
                </c:pt>
                <c:pt idx="1113">
                  <c:v>0.91880627107024093</c:v>
                </c:pt>
                <c:pt idx="1114">
                  <c:v>0.89120914970423626</c:v>
                </c:pt>
                <c:pt idx="1115">
                  <c:v>0.93623536543129227</c:v>
                </c:pt>
                <c:pt idx="1116">
                  <c:v>0.99571527591984843</c:v>
                </c:pt>
                <c:pt idx="1117">
                  <c:v>0.95735820277967165</c:v>
                </c:pt>
                <c:pt idx="1118">
                  <c:v>0.97447275755042262</c:v>
                </c:pt>
                <c:pt idx="1119">
                  <c:v>0.98941822926250511</c:v>
                </c:pt>
                <c:pt idx="1120">
                  <c:v>0.99958028228928519</c:v>
                </c:pt>
                <c:pt idx="1121">
                  <c:v>0.9753803714478877</c:v>
                </c:pt>
                <c:pt idx="1122">
                  <c:v>0.99792108175735827</c:v>
                </c:pt>
                <c:pt idx="1123">
                  <c:v>0.99223783336978699</c:v>
                </c:pt>
                <c:pt idx="1124">
                  <c:v>1.0086050795264931</c:v>
                </c:pt>
                <c:pt idx="1125">
                  <c:v>0.98128532587130834</c:v>
                </c:pt>
                <c:pt idx="1126">
                  <c:v>0.99448197552309936</c:v>
                </c:pt>
                <c:pt idx="1127">
                  <c:v>0.99988921037165857</c:v>
                </c:pt>
                <c:pt idx="1128">
                  <c:v>1.0016344929190659</c:v>
                </c:pt>
                <c:pt idx="1129">
                  <c:v>1.0135770135013831</c:v>
                </c:pt>
                <c:pt idx="1130">
                  <c:v>1.0203063233290737</c:v>
                </c:pt>
                <c:pt idx="1131">
                  <c:v>1.0602602475279623</c:v>
                </c:pt>
                <c:pt idx="1132">
                  <c:v>1.0624122468702544</c:v>
                </c:pt>
                <c:pt idx="1133">
                  <c:v>1.0543509231911499</c:v>
                </c:pt>
                <c:pt idx="1134">
                  <c:v>1.0880929767932539</c:v>
                </c:pt>
                <c:pt idx="1135">
                  <c:v>1.0763699257881645</c:v>
                </c:pt>
                <c:pt idx="1136">
                  <c:v>1.070559983816886</c:v>
                </c:pt>
                <c:pt idx="1137">
                  <c:v>1.0473190060564923</c:v>
                </c:pt>
                <c:pt idx="1138">
                  <c:v>1.0734774660538589</c:v>
                </c:pt>
                <c:pt idx="1139">
                  <c:v>1.0620597395744249</c:v>
                </c:pt>
                <c:pt idx="1140">
                  <c:v>1.0476415452327568</c:v>
                </c:pt>
                <c:pt idx="1141">
                  <c:v>0.99699460720044542</c:v>
                </c:pt>
                <c:pt idx="1142">
                  <c:v>0.98144043209871268</c:v>
                </c:pt>
                <c:pt idx="1143">
                  <c:v>0.97212521400221452</c:v>
                </c:pt>
                <c:pt idx="1144">
                  <c:v>0.9625028037030281</c:v>
                </c:pt>
                <c:pt idx="1145">
                  <c:v>0.94027286275887878</c:v>
                </c:pt>
                <c:pt idx="1146">
                  <c:v>0.96467918624339655</c:v>
                </c:pt>
                <c:pt idx="1147">
                  <c:v>0.96119517289077372</c:v>
                </c:pt>
                <c:pt idx="1148">
                  <c:v>0.97972775576537363</c:v>
                </c:pt>
                <c:pt idx="1149">
                  <c:v>1.0180801635647574</c:v>
                </c:pt>
                <c:pt idx="1150">
                  <c:v>0.99936991881563975</c:v>
                </c:pt>
                <c:pt idx="1151">
                  <c:v>0.99419733381913611</c:v>
                </c:pt>
                <c:pt idx="1152">
                  <c:v>1.0292087343195817</c:v>
                </c:pt>
                <c:pt idx="1153">
                  <c:v>1.0121730807907723</c:v>
                </c:pt>
                <c:pt idx="1154">
                  <c:v>1.0065293393786332</c:v>
                </c:pt>
                <c:pt idx="1155">
                  <c:v>1.0245779501158108</c:v>
                </c:pt>
                <c:pt idx="1156">
                  <c:v>0.98136587925941088</c:v>
                </c:pt>
                <c:pt idx="1157">
                  <c:v>0.9977535524085257</c:v>
                </c:pt>
                <c:pt idx="1158">
                  <c:v>1.0324215977970246</c:v>
                </c:pt>
                <c:pt idx="1159">
                  <c:v>1.0082093658461935</c:v>
                </c:pt>
                <c:pt idx="1160">
                  <c:v>1.0581887157085772</c:v>
                </c:pt>
                <c:pt idx="1161">
                  <c:v>1.0460022520419556</c:v>
                </c:pt>
                <c:pt idx="1162">
                  <c:v>1.038021695007967</c:v>
                </c:pt>
                <c:pt idx="1163">
                  <c:v>1.0328085210695057</c:v>
                </c:pt>
                <c:pt idx="1164">
                  <c:v>1.0000676473954448</c:v>
                </c:pt>
                <c:pt idx="1165">
                  <c:v>1.0067065273015161</c:v>
                </c:pt>
                <c:pt idx="1166">
                  <c:v>1.0172433764455993</c:v>
                </c:pt>
                <c:pt idx="1167">
                  <c:v>1.0430637881382667</c:v>
                </c:pt>
                <c:pt idx="1168">
                  <c:v>1.0495202318346941</c:v>
                </c:pt>
                <c:pt idx="1169">
                  <c:v>1.0630334491061291</c:v>
                </c:pt>
                <c:pt idx="1170">
                  <c:v>1.0610666236600765</c:v>
                </c:pt>
                <c:pt idx="1171">
                  <c:v>1.0933370721100226</c:v>
                </c:pt>
                <c:pt idx="1172">
                  <c:v>1.1131429640345842</c:v>
                </c:pt>
                <c:pt idx="1173">
                  <c:v>1.1093923877132996</c:v>
                </c:pt>
                <c:pt idx="1174">
                  <c:v>1.1043680658160553</c:v>
                </c:pt>
                <c:pt idx="1175">
                  <c:v>1.0985751477382479</c:v>
                </c:pt>
                <c:pt idx="1176">
                  <c:v>1.0898809210587219</c:v>
                </c:pt>
                <c:pt idx="1177">
                  <c:v>1.1121916320044303</c:v>
                </c:pt>
                <c:pt idx="1178">
                  <c:v>1.0740880218067919</c:v>
                </c:pt>
                <c:pt idx="1179">
                  <c:v>1.0258671547053726</c:v>
                </c:pt>
                <c:pt idx="1180">
                  <c:v>1.0765118926851855</c:v>
                </c:pt>
                <c:pt idx="1181">
                  <c:v>1.0942183727695618</c:v>
                </c:pt>
                <c:pt idx="1182">
                  <c:v>1.0501696420926849</c:v>
                </c:pt>
                <c:pt idx="1183">
                  <c:v>1.0536522194455751</c:v>
                </c:pt>
                <c:pt idx="1184">
                  <c:v>1.0722636325388422</c:v>
                </c:pt>
                <c:pt idx="1185">
                  <c:v>1.055615879576431</c:v>
                </c:pt>
                <c:pt idx="1186">
                  <c:v>1.0961685468688935</c:v>
                </c:pt>
                <c:pt idx="1187">
                  <c:v>1.0949414387169514</c:v>
                </c:pt>
                <c:pt idx="1188">
                  <c:v>1.0987646202999484</c:v>
                </c:pt>
                <c:pt idx="1189">
                  <c:v>1.1123899904574381</c:v>
                </c:pt>
                <c:pt idx="1190">
                  <c:v>1.059044626255969</c:v>
                </c:pt>
                <c:pt idx="1191">
                  <c:v>1.0613174553044857</c:v>
                </c:pt>
                <c:pt idx="1192">
                  <c:v>1.0566528437449241</c:v>
                </c:pt>
                <c:pt idx="1193">
                  <c:v>1.0912847088312945</c:v>
                </c:pt>
                <c:pt idx="1194">
                  <c:v>1.09412743923755</c:v>
                </c:pt>
                <c:pt idx="1195">
                  <c:v>1.0871450394256226</c:v>
                </c:pt>
                <c:pt idx="1196">
                  <c:v>1.0889886103277737</c:v>
                </c:pt>
                <c:pt idx="1197">
                  <c:v>1.0849215186055223</c:v>
                </c:pt>
                <c:pt idx="1198">
                  <c:v>1.0964811555950928</c:v>
                </c:pt>
                <c:pt idx="1199">
                  <c:v>1.0719938055628313</c:v>
                </c:pt>
                <c:pt idx="1200">
                  <c:v>1.072284827743746</c:v>
                </c:pt>
                <c:pt idx="1201">
                  <c:v>1.0520086958459482</c:v>
                </c:pt>
                <c:pt idx="1202">
                  <c:v>1.0513499820164196</c:v>
                </c:pt>
                <c:pt idx="1203">
                  <c:v>1.0840028570296574</c:v>
                </c:pt>
                <c:pt idx="1204">
                  <c:v>1.077479454480696</c:v>
                </c:pt>
                <c:pt idx="1205">
                  <c:v>1.1149039274525654</c:v>
                </c:pt>
                <c:pt idx="1206">
                  <c:v>1.0853532895306752</c:v>
                </c:pt>
                <c:pt idx="1207">
                  <c:v>1.1118913490613636</c:v>
                </c:pt>
                <c:pt idx="1208">
                  <c:v>1.1355676902840521</c:v>
                </c:pt>
                <c:pt idx="1209">
                  <c:v>1.1398887409809393</c:v>
                </c:pt>
                <c:pt idx="1210">
                  <c:v>1.0922270121648707</c:v>
                </c:pt>
                <c:pt idx="1211">
                  <c:v>1.1004935447901791</c:v>
                </c:pt>
                <c:pt idx="1212">
                  <c:v>1.1447108660210978</c:v>
                </c:pt>
                <c:pt idx="1213">
                  <c:v>1.165448449624819</c:v>
                </c:pt>
                <c:pt idx="1214">
                  <c:v>1.1690421667608397</c:v>
                </c:pt>
                <c:pt idx="1215">
                  <c:v>1.1611541231772506</c:v>
                </c:pt>
                <c:pt idx="1216">
                  <c:v>1.1328374893006465</c:v>
                </c:pt>
                <c:pt idx="1217">
                  <c:v>1.1026332164554173</c:v>
                </c:pt>
                <c:pt idx="1218">
                  <c:v>1.1007866353825821</c:v>
                </c:pt>
                <c:pt idx="1219">
                  <c:v>1.1543766692038957</c:v>
                </c:pt>
                <c:pt idx="1220">
                  <c:v>1.1637489500480667</c:v>
                </c:pt>
                <c:pt idx="1221">
                  <c:v>1.1614181892621149</c:v>
                </c:pt>
                <c:pt idx="1222">
                  <c:v>1.1729793449910744</c:v>
                </c:pt>
                <c:pt idx="1223">
                  <c:v>1.1790039875537306</c:v>
                </c:pt>
                <c:pt idx="1224">
                  <c:v>1.1436404587253677</c:v>
                </c:pt>
                <c:pt idx="1225">
                  <c:v>1.1636452408375522</c:v>
                </c:pt>
                <c:pt idx="1226">
                  <c:v>1.153430678416735</c:v>
                </c:pt>
                <c:pt idx="1227">
                  <c:v>1.1363866279531556</c:v>
                </c:pt>
                <c:pt idx="1228">
                  <c:v>1.1204447675352507</c:v>
                </c:pt>
                <c:pt idx="1229">
                  <c:v>1.142385181128621</c:v>
                </c:pt>
                <c:pt idx="1230">
                  <c:v>1.1412276293185621</c:v>
                </c:pt>
                <c:pt idx="1231">
                  <c:v>1.1524737902162572</c:v>
                </c:pt>
                <c:pt idx="1232">
                  <c:v>1.1558379074848375</c:v>
                </c:pt>
                <c:pt idx="1233">
                  <c:v>1.1669238325136624</c:v>
                </c:pt>
                <c:pt idx="1234">
                  <c:v>1.2565029185856877</c:v>
                </c:pt>
                <c:pt idx="1235">
                  <c:v>1.2609185616301801</c:v>
                </c:pt>
                <c:pt idx="1236">
                  <c:v>1.3286358200376747</c:v>
                </c:pt>
                <c:pt idx="1237">
                  <c:v>1.3447698135155124</c:v>
                </c:pt>
                <c:pt idx="1238">
                  <c:v>1.3814460384917895</c:v>
                </c:pt>
                <c:pt idx="1239">
                  <c:v>1.432956304695199</c:v>
                </c:pt>
                <c:pt idx="1240">
                  <c:v>1.441775709655863</c:v>
                </c:pt>
                <c:pt idx="1241">
                  <c:v>1.3939201817231213</c:v>
                </c:pt>
                <c:pt idx="1242">
                  <c:v>1.3827924309981281</c:v>
                </c:pt>
                <c:pt idx="1243">
                  <c:v>1.3772968439161477</c:v>
                </c:pt>
                <c:pt idx="1244">
                  <c:v>1.4087650757857781</c:v>
                </c:pt>
                <c:pt idx="1245">
                  <c:v>1.4266504712666774</c:v>
                </c:pt>
                <c:pt idx="1246">
                  <c:v>1.4237919929202467</c:v>
                </c:pt>
                <c:pt idx="1247">
                  <c:v>1.4367314001051439</c:v>
                </c:pt>
                <c:pt idx="1248">
                  <c:v>1.3989922642237154</c:v>
                </c:pt>
                <c:pt idx="1249">
                  <c:v>1.3032570456963544</c:v>
                </c:pt>
                <c:pt idx="1250">
                  <c:v>1.3435416465962891</c:v>
                </c:pt>
                <c:pt idx="1251">
                  <c:v>1.3475050454159108</c:v>
                </c:pt>
                <c:pt idx="1252">
                  <c:v>1.2911708972604676</c:v>
                </c:pt>
                <c:pt idx="1253">
                  <c:v>1.1948772872852982</c:v>
                </c:pt>
                <c:pt idx="1254">
                  <c:v>1.1339649272165722</c:v>
                </c:pt>
                <c:pt idx="1255">
                  <c:v>1.107671388244029</c:v>
                </c:pt>
                <c:pt idx="1256">
                  <c:v>1.0537575783027415</c:v>
                </c:pt>
                <c:pt idx="1257">
                  <c:v>0.98587691844797676</c:v>
                </c:pt>
                <c:pt idx="1258">
                  <c:v>0.95135184165905273</c:v>
                </c:pt>
                <c:pt idx="1259">
                  <c:v>0.84673616166491406</c:v>
                </c:pt>
                <c:pt idx="1260">
                  <c:v>0.8522590500604863</c:v>
                </c:pt>
                <c:pt idx="1261">
                  <c:v>0.69399555347564723</c:v>
                </c:pt>
                <c:pt idx="1262">
                  <c:v>0.63642954274845609</c:v>
                </c:pt>
                <c:pt idx="1263">
                  <c:v>0.60581410302082372</c:v>
                </c:pt>
                <c:pt idx="1264">
                  <c:v>0.60184256122581137</c:v>
                </c:pt>
                <c:pt idx="1265">
                  <c:v>0.61407450966072541</c:v>
                </c:pt>
                <c:pt idx="1266">
                  <c:v>0.59633784105557841</c:v>
                </c:pt>
                <c:pt idx="1267">
                  <c:v>0.61128355604389872</c:v>
                </c:pt>
                <c:pt idx="1268">
                  <c:v>0.6264267951827851</c:v>
                </c:pt>
                <c:pt idx="1269">
                  <c:v>0.60833301093499803</c:v>
                </c:pt>
                <c:pt idx="1270">
                  <c:v>0.624962468906896</c:v>
                </c:pt>
                <c:pt idx="1271">
                  <c:v>0.59855456740391166</c:v>
                </c:pt>
                <c:pt idx="1272">
                  <c:v>0.57578648953494493</c:v>
                </c:pt>
                <c:pt idx="1273">
                  <c:v>0.56848877159095634</c:v>
                </c:pt>
                <c:pt idx="1274">
                  <c:v>0.55501402063542105</c:v>
                </c:pt>
                <c:pt idx="1275">
                  <c:v>0.56772532797915898</c:v>
                </c:pt>
                <c:pt idx="1276">
                  <c:v>0.64168145662915244</c:v>
                </c:pt>
                <c:pt idx="1277">
                  <c:v>0.80399521851167433</c:v>
                </c:pt>
                <c:pt idx="1278">
                  <c:v>0.9064132884225844</c:v>
                </c:pt>
                <c:pt idx="1279">
                  <c:v>1.0332090880880365</c:v>
                </c:pt>
                <c:pt idx="1280">
                  <c:v>1.1099666075108303</c:v>
                </c:pt>
                <c:pt idx="1281">
                  <c:v>1.1010025702928465</c:v>
                </c:pt>
                <c:pt idx="1282">
                  <c:v>1.1635164071584165</c:v>
                </c:pt>
                <c:pt idx="1283">
                  <c:v>1.193307046764789</c:v>
                </c:pt>
                <c:pt idx="1284">
                  <c:v>1.2186938429451433</c:v>
                </c:pt>
                <c:pt idx="1285">
                  <c:v>1.2641689827114155</c:v>
                </c:pt>
                <c:pt idx="1286">
                  <c:v>1.3248582477093547</c:v>
                </c:pt>
                <c:pt idx="1287">
                  <c:v>1.3269929734442139</c:v>
                </c:pt>
                <c:pt idx="1288">
                  <c:v>1.3368139948007352</c:v>
                </c:pt>
                <c:pt idx="1289">
                  <c:v>1.3112158130038021</c:v>
                </c:pt>
                <c:pt idx="1290">
                  <c:v>1.2911219501775617</c:v>
                </c:pt>
                <c:pt idx="1291">
                  <c:v>1.3391982414436079</c:v>
                </c:pt>
                <c:pt idx="1292">
                  <c:v>1.3209313601843202</c:v>
                </c:pt>
                <c:pt idx="1293">
                  <c:v>1.2957775683677974</c:v>
                </c:pt>
                <c:pt idx="1294">
                  <c:v>1.3072284088918493</c:v>
                </c:pt>
                <c:pt idx="1295">
                  <c:v>1.2442945081942871</c:v>
                </c:pt>
                <c:pt idx="1296">
                  <c:v>1.260546391077447</c:v>
                </c:pt>
                <c:pt idx="1297">
                  <c:v>1.2515749126762357</c:v>
                </c:pt>
                <c:pt idx="1298">
                  <c:v>1.1889034655444857</c:v>
                </c:pt>
                <c:pt idx="1299">
                  <c:v>1.1640689269544522</c:v>
                </c:pt>
                <c:pt idx="1300">
                  <c:v>1.1068417111135977</c:v>
                </c:pt>
                <c:pt idx="1301">
                  <c:v>1.1155761000223523</c:v>
                </c:pt>
                <c:pt idx="1302">
                  <c:v>1.1050032597409243</c:v>
                </c:pt>
                <c:pt idx="1303">
                  <c:v>1.0760938527801185</c:v>
                </c:pt>
                <c:pt idx="1304">
                  <c:v>0.996378240164429</c:v>
                </c:pt>
                <c:pt idx="1305">
                  <c:v>0.91712959489791279</c:v>
                </c:pt>
                <c:pt idx="1306">
                  <c:v>0.95653625508607587</c:v>
                </c:pt>
                <c:pt idx="1307">
                  <c:v>0.92890504518153638</c:v>
                </c:pt>
                <c:pt idx="1308">
                  <c:v>0.9570618025372124</c:v>
                </c:pt>
                <c:pt idx="1309">
                  <c:v>0.96504819202315639</c:v>
                </c:pt>
                <c:pt idx="1310">
                  <c:v>0.98445179649701653</c:v>
                </c:pt>
                <c:pt idx="1311">
                  <c:v>1.0169486859729422</c:v>
                </c:pt>
                <c:pt idx="1312">
                  <c:v>1.0217029156125867</c:v>
                </c:pt>
                <c:pt idx="1313">
                  <c:v>1.0315107967007895</c:v>
                </c:pt>
                <c:pt idx="1314">
                  <c:v>1.0233759621869065</c:v>
                </c:pt>
                <c:pt idx="1315">
                  <c:v>1.0264378965910566</c:v>
                </c:pt>
                <c:pt idx="1316">
                  <c:v>1.0344663589409842</c:v>
                </c:pt>
                <c:pt idx="1317">
                  <c:v>1.0633862220950934</c:v>
                </c:pt>
                <c:pt idx="1318">
                  <c:v>1.0461767963497763</c:v>
                </c:pt>
                <c:pt idx="1319">
                  <c:v>1.0648792242765548</c:v>
                </c:pt>
                <c:pt idx="1320">
                  <c:v>1.0816616899071385</c:v>
                </c:pt>
                <c:pt idx="1321">
                  <c:v>1.071863893822212</c:v>
                </c:pt>
                <c:pt idx="1322">
                  <c:v>1.0792035570260454</c:v>
                </c:pt>
                <c:pt idx="1323">
                  <c:v>1.0936866297869146</c:v>
                </c:pt>
                <c:pt idx="1324">
                  <c:v>1.1090761056382037</c:v>
                </c:pt>
                <c:pt idx="1325">
                  <c:v>1.1216531138229138</c:v>
                </c:pt>
                <c:pt idx="1326">
                  <c:v>1.1166370024644374</c:v>
                </c:pt>
                <c:pt idx="1327">
                  <c:v>1.1089462264283783</c:v>
                </c:pt>
                <c:pt idx="1328">
                  <c:v>1.1084178562456968</c:v>
                </c:pt>
                <c:pt idx="1329">
                  <c:v>1.1316630701778805</c:v>
                </c:pt>
                <c:pt idx="1330">
                  <c:v>1.1508567544771562</c:v>
                </c:pt>
                <c:pt idx="1331">
                  <c:v>1.1466787997211212</c:v>
                </c:pt>
                <c:pt idx="1332">
                  <c:v>1.1345135698290261</c:v>
                </c:pt>
                <c:pt idx="1333">
                  <c:v>1.1197780391746599</c:v>
                </c:pt>
                <c:pt idx="1334">
                  <c:v>1.1276817655079909</c:v>
                </c:pt>
                <c:pt idx="1335">
                  <c:v>1.1184223329770491</c:v>
                </c:pt>
                <c:pt idx="1336">
                  <c:v>1.1153277406976361</c:v>
                </c:pt>
                <c:pt idx="1337">
                  <c:v>1.0928204381218372</c:v>
                </c:pt>
                <c:pt idx="1338">
                  <c:v>1.1080099505568251</c:v>
                </c:pt>
                <c:pt idx="1339">
                  <c:v>1.1262800849208336</c:v>
                </c:pt>
                <c:pt idx="1340">
                  <c:v>1.167288161212956</c:v>
                </c:pt>
                <c:pt idx="1341">
                  <c:v>1.1491736241612389</c:v>
                </c:pt>
                <c:pt idx="1342">
                  <c:v>1.1199024833334505</c:v>
                </c:pt>
                <c:pt idx="1343">
                  <c:v>1.151756903771769</c:v>
                </c:pt>
                <c:pt idx="1344">
                  <c:v>1.1496484683725912</c:v>
                </c:pt>
                <c:pt idx="1345">
                  <c:v>1.1561537008216103</c:v>
                </c:pt>
                <c:pt idx="1346">
                  <c:v>1.1648739700546054</c:v>
                </c:pt>
                <c:pt idx="1347">
                  <c:v>1.1348511356689701</c:v>
                </c:pt>
                <c:pt idx="1348">
                  <c:v>1.1789911248721106</c:v>
                </c:pt>
                <c:pt idx="1349">
                  <c:v>1.1573473010889204</c:v>
                </c:pt>
                <c:pt idx="1350">
                  <c:v>1.1633497644940445</c:v>
                </c:pt>
                <c:pt idx="1351">
                  <c:v>1.1247545549952365</c:v>
                </c:pt>
                <c:pt idx="1352">
                  <c:v>1.1576449203589543</c:v>
                </c:pt>
                <c:pt idx="1353">
                  <c:v>1.1629276177926196</c:v>
                </c:pt>
                <c:pt idx="1354">
                  <c:v>1.1606880923501828</c:v>
                </c:pt>
                <c:pt idx="1355">
                  <c:v>1.137829546742551</c:v>
                </c:pt>
                <c:pt idx="1356">
                  <c:v>1.1197245021416253</c:v>
                </c:pt>
                <c:pt idx="1357">
                  <c:v>1.1251583503292888</c:v>
                </c:pt>
                <c:pt idx="1358">
                  <c:v>1.1132001662919211</c:v>
                </c:pt>
                <c:pt idx="1359">
                  <c:v>1.1191774382646773</c:v>
                </c:pt>
                <c:pt idx="1360">
                  <c:v>1.1118782125385349</c:v>
                </c:pt>
                <c:pt idx="1361">
                  <c:v>1.1214792994862093</c:v>
                </c:pt>
                <c:pt idx="1362">
                  <c:v>1.1150000904332207</c:v>
                </c:pt>
                <c:pt idx="1363">
                  <c:v>1.1389798681344931</c:v>
                </c:pt>
                <c:pt idx="1364">
                  <c:v>1.1302632289170118</c:v>
                </c:pt>
                <c:pt idx="1365">
                  <c:v>1.1608250870051187</c:v>
                </c:pt>
                <c:pt idx="1366">
                  <c:v>1.1327974687438214</c:v>
                </c:pt>
                <c:pt idx="1367">
                  <c:v>1.180355045758376</c:v>
                </c:pt>
                <c:pt idx="1368">
                  <c:v>1.191409292564696</c:v>
                </c:pt>
                <c:pt idx="1369">
                  <c:v>1.1858037022075485</c:v>
                </c:pt>
                <c:pt idx="1370">
                  <c:v>1.1592828814473271</c:v>
                </c:pt>
                <c:pt idx="1371">
                  <c:v>1.1506901489076289</c:v>
                </c:pt>
                <c:pt idx="1372">
                  <c:v>1.1556658301745275</c:v>
                </c:pt>
                <c:pt idx="1373">
                  <c:v>1.1364006525510062</c:v>
                </c:pt>
                <c:pt idx="1374">
                  <c:v>1.1423101901583601</c:v>
                </c:pt>
                <c:pt idx="1375">
                  <c:v>1.1354038897681544</c:v>
                </c:pt>
                <c:pt idx="1376">
                  <c:v>1.136573019749429</c:v>
                </c:pt>
                <c:pt idx="1377">
                  <c:v>1.1867575456890398</c:v>
                </c:pt>
                <c:pt idx="1378">
                  <c:v>1.1740997153288113</c:v>
                </c:pt>
                <c:pt idx="1379">
                  <c:v>1.2154378575210789</c:v>
                </c:pt>
                <c:pt idx="1380">
                  <c:v>1.2332061353837283</c:v>
                </c:pt>
                <c:pt idx="1381">
                  <c:v>1.2682934427273946</c:v>
                </c:pt>
                <c:pt idx="1382">
                  <c:v>1.2748591973127894</c:v>
                </c:pt>
                <c:pt idx="1383">
                  <c:v>1.25426063607432</c:v>
                </c:pt>
                <c:pt idx="1384">
                  <c:v>1.2348476199803646</c:v>
                </c:pt>
                <c:pt idx="1385">
                  <c:v>1.2165561510254006</c:v>
                </c:pt>
                <c:pt idx="1386">
                  <c:v>1.2075665304661152</c:v>
                </c:pt>
                <c:pt idx="1387">
                  <c:v>1.1996584952286571</c:v>
                </c:pt>
                <c:pt idx="1388">
                  <c:v>1.1861065728047127</c:v>
                </c:pt>
                <c:pt idx="1389">
                  <c:v>1.1707152723136371</c:v>
                </c:pt>
                <c:pt idx="1390">
                  <c:v>1.1655212095653511</c:v>
                </c:pt>
                <c:pt idx="1391">
                  <c:v>1.1604408684303293</c:v>
                </c:pt>
                <c:pt idx="1392">
                  <c:v>1.211445451522092</c:v>
                </c:pt>
                <c:pt idx="1393">
                  <c:v>1.1542601702017401</c:v>
                </c:pt>
                <c:pt idx="1394">
                  <c:v>1.1516694286212275</c:v>
                </c:pt>
                <c:pt idx="1395">
                  <c:v>1.120543446383693</c:v>
                </c:pt>
                <c:pt idx="1396">
                  <c:v>1.1802997698502293</c:v>
                </c:pt>
                <c:pt idx="1397">
                  <c:v>1.1130618115278768</c:v>
                </c:pt>
                <c:pt idx="1398">
                  <c:v>1.0982812454915367</c:v>
                </c:pt>
                <c:pt idx="1399">
                  <c:v>1.1129044671195332</c:v>
                </c:pt>
                <c:pt idx="1400">
                  <c:v>1.1449037906961601</c:v>
                </c:pt>
                <c:pt idx="1401">
                  <c:v>1.1208513608149182</c:v>
                </c:pt>
                <c:pt idx="1402">
                  <c:v>1.1234694625712249</c:v>
                </c:pt>
                <c:pt idx="1403">
                  <c:v>1.1005768733451207</c:v>
                </c:pt>
                <c:pt idx="1404">
                  <c:v>1.0928696716363917</c:v>
                </c:pt>
                <c:pt idx="1405">
                  <c:v>1.0940577531659106</c:v>
                </c:pt>
                <c:pt idx="1406">
                  <c:v>1.0624019880208653</c:v>
                </c:pt>
                <c:pt idx="1407">
                  <c:v>1.0594937297648706</c:v>
                </c:pt>
                <c:pt idx="1408">
                  <c:v>1.0680590164539476</c:v>
                </c:pt>
                <c:pt idx="1409">
                  <c:v>1.0575241630970513</c:v>
                </c:pt>
                <c:pt idx="1410">
                  <c:v>1.0145595250125634</c:v>
                </c:pt>
                <c:pt idx="1411">
                  <c:v>0.98809227146387801</c:v>
                </c:pt>
                <c:pt idx="1412">
                  <c:v>0.95969438296132004</c:v>
                </c:pt>
                <c:pt idx="1413">
                  <c:v>0.99262818978774581</c:v>
                </c:pt>
                <c:pt idx="1414">
                  <c:v>0.96151990033404755</c:v>
                </c:pt>
                <c:pt idx="1415">
                  <c:v>0.98000677387423774</c:v>
                </c:pt>
                <c:pt idx="1416">
                  <c:v>0.98808274603841717</c:v>
                </c:pt>
                <c:pt idx="1417">
                  <c:v>0.98487893410562033</c:v>
                </c:pt>
                <c:pt idx="1418">
                  <c:v>0.97883350451115314</c:v>
                </c:pt>
                <c:pt idx="1419">
                  <c:v>1.0033847608131838</c:v>
                </c:pt>
                <c:pt idx="1420">
                  <c:v>1.0282249327685915</c:v>
                </c:pt>
                <c:pt idx="1421">
                  <c:v>1.017269760604663</c:v>
                </c:pt>
                <c:pt idx="1422">
                  <c:v>0.97810631882419097</c:v>
                </c:pt>
                <c:pt idx="1423">
                  <c:v>0.98725592611148749</c:v>
                </c:pt>
                <c:pt idx="1424">
                  <c:v>1.0210563645339232</c:v>
                </c:pt>
                <c:pt idx="1425">
                  <c:v>1.0514972565635936</c:v>
                </c:pt>
                <c:pt idx="1426">
                  <c:v>0.9910183487009705</c:v>
                </c:pt>
                <c:pt idx="1427">
                  <c:v>1.003066111481512</c:v>
                </c:pt>
                <c:pt idx="1428">
                  <c:v>0.99549124304320902</c:v>
                </c:pt>
                <c:pt idx="1429">
                  <c:v>0.98592258095569441</c:v>
                </c:pt>
                <c:pt idx="1430">
                  <c:v>0.9846683019606286</c:v>
                </c:pt>
                <c:pt idx="1431">
                  <c:v>0.99383338782448338</c:v>
                </c:pt>
                <c:pt idx="1432">
                  <c:v>0.95853755333133672</c:v>
                </c:pt>
                <c:pt idx="1433">
                  <c:v>0.9602897182254535</c:v>
                </c:pt>
                <c:pt idx="1434">
                  <c:v>0.96693789791512152</c:v>
                </c:pt>
                <c:pt idx="1435">
                  <c:v>0.9583291217413501</c:v>
                </c:pt>
                <c:pt idx="1436">
                  <c:v>0.96873089114451294</c:v>
                </c:pt>
                <c:pt idx="1437">
                  <c:v>0.99162350004926392</c:v>
                </c:pt>
                <c:pt idx="1438">
                  <c:v>0.96091653833694224</c:v>
                </c:pt>
                <c:pt idx="1439">
                  <c:v>0.9281824396428211</c:v>
                </c:pt>
                <c:pt idx="1440">
                  <c:v>0.97915989623746369</c:v>
                </c:pt>
                <c:pt idx="1441">
                  <c:v>0.95797280083533254</c:v>
                </c:pt>
                <c:pt idx="1442">
                  <c:v>0.95600631840484285</c:v>
                </c:pt>
                <c:pt idx="1443">
                  <c:v>0.9191643392945108</c:v>
                </c:pt>
                <c:pt idx="1444">
                  <c:v>0.97540091413062391</c:v>
                </c:pt>
                <c:pt idx="1445">
                  <c:v>0.95131716168930036</c:v>
                </c:pt>
                <c:pt idx="1446">
                  <c:v>0.96010409835554333</c:v>
                </c:pt>
                <c:pt idx="1447">
                  <c:v>0.99851167405652097</c:v>
                </c:pt>
                <c:pt idx="1448">
                  <c:v>0.98270912238041497</c:v>
                </c:pt>
                <c:pt idx="1449">
                  <c:v>0.98215198178296226</c:v>
                </c:pt>
                <c:pt idx="1450">
                  <c:v>0.95684315082809679</c:v>
                </c:pt>
                <c:pt idx="1451">
                  <c:v>1.0077991330539906</c:v>
                </c:pt>
                <c:pt idx="1452">
                  <c:v>0.99768033355075558</c:v>
                </c:pt>
                <c:pt idx="1453">
                  <c:v>0.99737840300525504</c:v>
                </c:pt>
                <c:pt idx="1454">
                  <c:v>0.97936349193518879</c:v>
                </c:pt>
                <c:pt idx="1455">
                  <c:v>0.94568716567719746</c:v>
                </c:pt>
                <c:pt idx="1456">
                  <c:v>0.92520578883724602</c:v>
                </c:pt>
                <c:pt idx="1457">
                  <c:v>0.93885558839211836</c:v>
                </c:pt>
                <c:pt idx="1458">
                  <c:v>0.95758193400659253</c:v>
                </c:pt>
                <c:pt idx="1459">
                  <c:v>0.9683737622592572</c:v>
                </c:pt>
                <c:pt idx="1460">
                  <c:v>0.90430663422857194</c:v>
                </c:pt>
                <c:pt idx="1461">
                  <c:v>0.93460497499153217</c:v>
                </c:pt>
                <c:pt idx="1462">
                  <c:v>0.93808940285829667</c:v>
                </c:pt>
                <c:pt idx="1463">
                  <c:v>0.95434899179288557</c:v>
                </c:pt>
                <c:pt idx="1464">
                  <c:v>0.960009362346949</c:v>
                </c:pt>
                <c:pt idx="1465">
                  <c:v>0.94605485755727647</c:v>
                </c:pt>
                <c:pt idx="1466">
                  <c:v>0.96280419382531424</c:v>
                </c:pt>
                <c:pt idx="1467">
                  <c:v>0.93256816337977511</c:v>
                </c:pt>
                <c:pt idx="1468">
                  <c:v>0.94703097159381144</c:v>
                </c:pt>
                <c:pt idx="1469">
                  <c:v>0.95296898406338504</c:v>
                </c:pt>
                <c:pt idx="1470">
                  <c:v>0.91751391562041373</c:v>
                </c:pt>
                <c:pt idx="1471">
                  <c:v>0.92644930543170068</c:v>
                </c:pt>
                <c:pt idx="1472">
                  <c:v>0.94539783554328483</c:v>
                </c:pt>
                <c:pt idx="1473">
                  <c:v>0.97799791250098855</c:v>
                </c:pt>
                <c:pt idx="1474">
                  <c:v>0.94833313426721988</c:v>
                </c:pt>
                <c:pt idx="1475">
                  <c:v>0.9678053428693616</c:v>
                </c:pt>
                <c:pt idx="1476">
                  <c:v>0.93611947700383591</c:v>
                </c:pt>
                <c:pt idx="1477">
                  <c:v>0.88100964296327033</c:v>
                </c:pt>
                <c:pt idx="1478">
                  <c:v>0.87168101046654511</c:v>
                </c:pt>
                <c:pt idx="1479">
                  <c:v>0.87067333824063953</c:v>
                </c:pt>
                <c:pt idx="1480">
                  <c:v>0.87279959908065652</c:v>
                </c:pt>
                <c:pt idx="1481">
                  <c:v>0.88511258453969988</c:v>
                </c:pt>
                <c:pt idx="1482">
                  <c:v>0.92896835165563796</c:v>
                </c:pt>
                <c:pt idx="1483">
                  <c:v>0.95247857455914597</c:v>
                </c:pt>
                <c:pt idx="1484">
                  <c:v>0.9385750284065415</c:v>
                </c:pt>
                <c:pt idx="1485">
                  <c:v>1.0114761079194692</c:v>
                </c:pt>
                <c:pt idx="1486">
                  <c:v>1.0636707420787814</c:v>
                </c:pt>
                <c:pt idx="1487">
                  <c:v>1.0359940634664406</c:v>
                </c:pt>
                <c:pt idx="1488">
                  <c:v>1.0607817602797418</c:v>
                </c:pt>
                <c:pt idx="1489">
                  <c:v>1.0530056316027652</c:v>
                </c:pt>
                <c:pt idx="1490">
                  <c:v>1.055898174897629</c:v>
                </c:pt>
                <c:pt idx="1491">
                  <c:v>1.0338193481613409</c:v>
                </c:pt>
                <c:pt idx="1492">
                  <c:v>1.0486595832707046</c:v>
                </c:pt>
                <c:pt idx="1493">
                  <c:v>1.0344252801533991</c:v>
                </c:pt>
                <c:pt idx="1494">
                  <c:v>1.0557897466865571</c:v>
                </c:pt>
                <c:pt idx="1495">
                  <c:v>1.0458732141208089</c:v>
                </c:pt>
                <c:pt idx="1496">
                  <c:v>1.0115592604625467</c:v>
                </c:pt>
                <c:pt idx="1497">
                  <c:v>1.0388989070026644</c:v>
                </c:pt>
                <c:pt idx="1498">
                  <c:v>1.0340145032098254</c:v>
                </c:pt>
                <c:pt idx="1499">
                  <c:v>1.0597676399791958</c:v>
                </c:pt>
                <c:pt idx="1500">
                  <c:v>1.0880609237123369</c:v>
                </c:pt>
                <c:pt idx="1501">
                  <c:v>1.118301325920237</c:v>
                </c:pt>
                <c:pt idx="1502">
                  <c:v>1.1253914421230449</c:v>
                </c:pt>
                <c:pt idx="1503">
                  <c:v>1.0925155323507789</c:v>
                </c:pt>
                <c:pt idx="1504">
                  <c:v>1.0849978156161981</c:v>
                </c:pt>
                <c:pt idx="1505">
                  <c:v>1.0746517040182451</c:v>
                </c:pt>
                <c:pt idx="1506">
                  <c:v>1.1022314842302792</c:v>
                </c:pt>
                <c:pt idx="1507">
                  <c:v>1.0910499149500277</c:v>
                </c:pt>
                <c:pt idx="1508">
                  <c:v>1.0772369072768786</c:v>
                </c:pt>
                <c:pt idx="1509">
                  <c:v>1.0809850676101536</c:v>
                </c:pt>
                <c:pt idx="1510">
                  <c:v>1.0952008281504673</c:v>
                </c:pt>
                <c:pt idx="1511">
                  <c:v>1.0790151606224678</c:v>
                </c:pt>
                <c:pt idx="1512">
                  <c:v>1.0502596095231669</c:v>
                </c:pt>
                <c:pt idx="1513">
                  <c:v>1.0520208415550598</c:v>
                </c:pt>
                <c:pt idx="1514">
                  <c:v>1.0816484562144815</c:v>
                </c:pt>
                <c:pt idx="1515">
                  <c:v>1.0345695677310205</c:v>
                </c:pt>
                <c:pt idx="1516">
                  <c:v>1.0285290610987778</c:v>
                </c:pt>
                <c:pt idx="1517">
                  <c:v>1.0341184848304319</c:v>
                </c:pt>
                <c:pt idx="1518">
                  <c:v>1.0228926433342307</c:v>
                </c:pt>
                <c:pt idx="1519">
                  <c:v>1.039364466326985</c:v>
                </c:pt>
                <c:pt idx="1520">
                  <c:v>1.0492635109283761</c:v>
                </c:pt>
                <c:pt idx="1521">
                  <c:v>1.0580321023310102</c:v>
                </c:pt>
                <c:pt idx="1522">
                  <c:v>1.0596389180021815</c:v>
                </c:pt>
                <c:pt idx="1523">
                  <c:v>1.0490484932656985</c:v>
                </c:pt>
                <c:pt idx="1524">
                  <c:v>1.0332804723446509</c:v>
                </c:pt>
                <c:pt idx="1525">
                  <c:v>1.0402162337779024</c:v>
                </c:pt>
                <c:pt idx="1526">
                  <c:v>1.0611398595363577</c:v>
                </c:pt>
                <c:pt idx="1527">
                  <c:v>1.0471473733631196</c:v>
                </c:pt>
                <c:pt idx="1528">
                  <c:v>1.0593625552237236</c:v>
                </c:pt>
                <c:pt idx="1529">
                  <c:v>1.0419700908814489</c:v>
                </c:pt>
                <c:pt idx="1530">
                  <c:v>1.0223587463974142</c:v>
                </c:pt>
                <c:pt idx="1531">
                  <c:v>0.99681950303335642</c:v>
                </c:pt>
                <c:pt idx="1532">
                  <c:v>1.0273710648002916</c:v>
                </c:pt>
                <c:pt idx="1533">
                  <c:v>1.026571951170475</c:v>
                </c:pt>
                <c:pt idx="1534">
                  <c:v>1.0462871397130489</c:v>
                </c:pt>
                <c:pt idx="1535">
                  <c:v>1.0440565142029343</c:v>
                </c:pt>
                <c:pt idx="1536">
                  <c:v>1.0177152004086343</c:v>
                </c:pt>
                <c:pt idx="1537">
                  <c:v>1.033493219794076</c:v>
                </c:pt>
                <c:pt idx="1538">
                  <c:v>1.0486442240940139</c:v>
                </c:pt>
                <c:pt idx="1539">
                  <c:v>1.055968052686665</c:v>
                </c:pt>
                <c:pt idx="1540">
                  <c:v>1.0376059575039143</c:v>
                </c:pt>
                <c:pt idx="1541">
                  <c:v>0.99310087459906593</c:v>
                </c:pt>
                <c:pt idx="1542">
                  <c:v>1.0116459820756816</c:v>
                </c:pt>
                <c:pt idx="1543">
                  <c:v>0.96500203759530567</c:v>
                </c:pt>
                <c:pt idx="1544">
                  <c:v>0.91324525536032453</c:v>
                </c:pt>
                <c:pt idx="1545">
                  <c:v>0.91358926056990963</c:v>
                </c:pt>
                <c:pt idx="1546">
                  <c:v>0.94597542256981737</c:v>
                </c:pt>
                <c:pt idx="1547">
                  <c:v>0.96315365036592482</c:v>
                </c:pt>
                <c:pt idx="1548">
                  <c:v>0.95637540120998743</c:v>
                </c:pt>
                <c:pt idx="1549">
                  <c:v>0.93428171230161805</c:v>
                </c:pt>
                <c:pt idx="1550">
                  <c:v>0.9648965804923535</c:v>
                </c:pt>
                <c:pt idx="1551">
                  <c:v>0.99097661553099292</c:v>
                </c:pt>
                <c:pt idx="1552">
                  <c:v>1.0023064315969288</c:v>
                </c:pt>
                <c:pt idx="1553">
                  <c:v>1.0184370210027986</c:v>
                </c:pt>
                <c:pt idx="1554">
                  <c:v>1.0161073066135513</c:v>
                </c:pt>
                <c:pt idx="1555">
                  <c:v>0.98806166425293029</c:v>
                </c:pt>
                <c:pt idx="1556">
                  <c:v>0.99149350483885845</c:v>
                </c:pt>
                <c:pt idx="1557">
                  <c:v>0.9730495035089326</c:v>
                </c:pt>
                <c:pt idx="1558">
                  <c:v>0.9749793000799567</c:v>
                </c:pt>
                <c:pt idx="1559">
                  <c:v>0.97315004752446743</c:v>
                </c:pt>
                <c:pt idx="1560">
                  <c:v>0.9656374136133925</c:v>
                </c:pt>
                <c:pt idx="1561">
                  <c:v>0.96008060555055752</c:v>
                </c:pt>
                <c:pt idx="1562">
                  <c:v>0.90879237382828992</c:v>
                </c:pt>
                <c:pt idx="1563">
                  <c:v>0.89375278957508208</c:v>
                </c:pt>
                <c:pt idx="1564">
                  <c:v>0.8710941067573148</c:v>
                </c:pt>
                <c:pt idx="1565">
                  <c:v>0.86557190378220783</c:v>
                </c:pt>
                <c:pt idx="1566">
                  <c:v>0.86539804031967549</c:v>
                </c:pt>
                <c:pt idx="1567">
                  <c:v>0.85789978796965816</c:v>
                </c:pt>
                <c:pt idx="1568">
                  <c:v>0.85871898356747778</c:v>
                </c:pt>
                <c:pt idx="1569">
                  <c:v>0.82637886604075073</c:v>
                </c:pt>
                <c:pt idx="1570">
                  <c:v>0.8310343609285693</c:v>
                </c:pt>
                <c:pt idx="1571">
                  <c:v>0.85168291995093992</c:v>
                </c:pt>
                <c:pt idx="1572">
                  <c:v>0.85271785526428889</c:v>
                </c:pt>
                <c:pt idx="1573">
                  <c:v>0.85868910462508508</c:v>
                </c:pt>
                <c:pt idx="1574">
                  <c:v>0.91400415728926365</c:v>
                </c:pt>
                <c:pt idx="1575">
                  <c:v>0.9000335212405175</c:v>
                </c:pt>
                <c:pt idx="1576">
                  <c:v>0.90604573554639734</c:v>
                </c:pt>
                <c:pt idx="1577">
                  <c:v>0.89263351297332405</c:v>
                </c:pt>
                <c:pt idx="1578">
                  <c:v>0.85901588489389735</c:v>
                </c:pt>
                <c:pt idx="1579">
                  <c:v>0.85829347201314476</c:v>
                </c:pt>
                <c:pt idx="1580">
                  <c:v>0.84948407512813517</c:v>
                </c:pt>
                <c:pt idx="1581">
                  <c:v>0.83096007257170057</c:v>
                </c:pt>
                <c:pt idx="1582">
                  <c:v>0.8198268319635158</c:v>
                </c:pt>
                <c:pt idx="1583">
                  <c:v>0.8330768172583165</c:v>
                </c:pt>
                <c:pt idx="1584">
                  <c:v>0.83908323169138188</c:v>
                </c:pt>
                <c:pt idx="1585">
                  <c:v>0.87265495705323892</c:v>
                </c:pt>
                <c:pt idx="1586">
                  <c:v>0.90473838387858208</c:v>
                </c:pt>
                <c:pt idx="1587">
                  <c:v>0.94086247192921579</c:v>
                </c:pt>
                <c:pt idx="1588">
                  <c:v>0.90491656214142302</c:v>
                </c:pt>
                <c:pt idx="1589">
                  <c:v>0.88143198262083255</c:v>
                </c:pt>
                <c:pt idx="1590">
                  <c:v>0.93980481290178286</c:v>
                </c:pt>
                <c:pt idx="1591">
                  <c:v>0.98006696426696616</c:v>
                </c:pt>
                <c:pt idx="1592">
                  <c:v>1.0034342823877109</c:v>
                </c:pt>
                <c:pt idx="1593">
                  <c:v>1.0094016447521941</c:v>
                </c:pt>
                <c:pt idx="1594">
                  <c:v>1.0449034595233011</c:v>
                </c:pt>
                <c:pt idx="1595">
                  <c:v>1.0572866567073924</c:v>
                </c:pt>
                <c:pt idx="1596">
                  <c:v>1.0764321240641983</c:v>
                </c:pt>
                <c:pt idx="1597">
                  <c:v>1.0780864030912067</c:v>
                </c:pt>
                <c:pt idx="1598">
                  <c:v>1.0808532935423489</c:v>
                </c:pt>
                <c:pt idx="1599">
                  <c:v>1.0912930505915668</c:v>
                </c:pt>
                <c:pt idx="1600">
                  <c:v>1.1175375316843175</c:v>
                </c:pt>
                <c:pt idx="1601">
                  <c:v>1.1187382994491146</c:v>
                </c:pt>
                <c:pt idx="1602">
                  <c:v>1.1268523880926011</c:v>
                </c:pt>
                <c:pt idx="1603">
                  <c:v>1.1307537492280733</c:v>
                </c:pt>
                <c:pt idx="1604">
                  <c:v>1.0990335797459221</c:v>
                </c:pt>
                <c:pt idx="1605">
                  <c:v>1.076357173568339</c:v>
                </c:pt>
                <c:pt idx="1606">
                  <c:v>1.0319278834397732</c:v>
                </c:pt>
                <c:pt idx="1607">
                  <c:v>1.0680015837712</c:v>
                </c:pt>
                <c:pt idx="1608">
                  <c:v>1.0784049326868876</c:v>
                </c:pt>
                <c:pt idx="1609">
                  <c:v>1.0671308324084636</c:v>
                </c:pt>
                <c:pt idx="1610">
                  <c:v>1.0635437920880868</c:v>
                </c:pt>
                <c:pt idx="1611">
                  <c:v>1.0426479552256507</c:v>
                </c:pt>
                <c:pt idx="1612">
                  <c:v>1.0657387451336529</c:v>
                </c:pt>
                <c:pt idx="1613">
                  <c:v>1.0590556738351928</c:v>
                </c:pt>
                <c:pt idx="1614">
                  <c:v>1.0589482482417865</c:v>
                </c:pt>
                <c:pt idx="1615">
                  <c:v>1.0196399847137574</c:v>
                </c:pt>
                <c:pt idx="1616">
                  <c:v>1.0201879013241881</c:v>
                </c:pt>
                <c:pt idx="1617">
                  <c:v>1.0025114052365256</c:v>
                </c:pt>
                <c:pt idx="1618">
                  <c:v>1.0169182749941377</c:v>
                </c:pt>
                <c:pt idx="1619">
                  <c:v>1.0234177308825196</c:v>
                </c:pt>
                <c:pt idx="1620">
                  <c:v>1.0061752091353164</c:v>
                </c:pt>
                <c:pt idx="1621">
                  <c:v>1.0228692116965998</c:v>
                </c:pt>
                <c:pt idx="1622">
                  <c:v>1.0134574602993476</c:v>
                </c:pt>
                <c:pt idx="1623">
                  <c:v>1.0139355531737482</c:v>
                </c:pt>
                <c:pt idx="1624">
                  <c:v>1.0035241263561849</c:v>
                </c:pt>
                <c:pt idx="1625">
                  <c:v>1.0471351695929709</c:v>
                </c:pt>
                <c:pt idx="1626">
                  <c:v>1.0317679762136764</c:v>
                </c:pt>
                <c:pt idx="1627">
                  <c:v>1.0315034296559589</c:v>
                </c:pt>
                <c:pt idx="1628">
                  <c:v>1.0630886576970155</c:v>
                </c:pt>
                <c:pt idx="1629">
                  <c:v>1.0758905840879383</c:v>
                </c:pt>
                <c:pt idx="1630">
                  <c:v>1.0237685397889216</c:v>
                </c:pt>
                <c:pt idx="1631">
                  <c:v>1.0462899372715426</c:v>
                </c:pt>
                <c:pt idx="1632">
                  <c:v>1.0722808676396804</c:v>
                </c:pt>
                <c:pt idx="1633">
                  <c:v>1.0661145973364072</c:v>
                </c:pt>
                <c:pt idx="1634">
                  <c:v>1.0569952348308937</c:v>
                </c:pt>
                <c:pt idx="1635">
                  <c:v>1.0883075654335528</c:v>
                </c:pt>
                <c:pt idx="1636">
                  <c:v>1.0864714982545731</c:v>
                </c:pt>
                <c:pt idx="1637">
                  <c:v>1.043786086410281</c:v>
                </c:pt>
                <c:pt idx="1638">
                  <c:v>1.0526043879840479</c:v>
                </c:pt>
                <c:pt idx="1639">
                  <c:v>1.108035169936439</c:v>
                </c:pt>
                <c:pt idx="1640">
                  <c:v>1.0857882435624915</c:v>
                </c:pt>
                <c:pt idx="1641">
                  <c:v>1.0718757762201088</c:v>
                </c:pt>
                <c:pt idx="1642">
                  <c:v>1.0583577374097524</c:v>
                </c:pt>
                <c:pt idx="1643">
                  <c:v>1.0500505178958428</c:v>
                </c:pt>
                <c:pt idx="1644">
                  <c:v>1.0123289155110005</c:v>
                </c:pt>
                <c:pt idx="1645">
                  <c:v>1.0108772418236809</c:v>
                </c:pt>
                <c:pt idx="1646">
                  <c:v>1.0228528589122965</c:v>
                </c:pt>
                <c:pt idx="1647">
                  <c:v>1.0245111222287122</c:v>
                </c:pt>
                <c:pt idx="1648">
                  <c:v>1.0603200585049268</c:v>
                </c:pt>
                <c:pt idx="1649">
                  <c:v>1.0782577083312932</c:v>
                </c:pt>
                <c:pt idx="1650">
                  <c:v>1.089574522300423</c:v>
                </c:pt>
                <c:pt idx="1651">
                  <c:v>1.0745950421563892</c:v>
                </c:pt>
                <c:pt idx="1652">
                  <c:v>1.1008789588205989</c:v>
                </c:pt>
                <c:pt idx="1653">
                  <c:v>1.1002792573426505</c:v>
                </c:pt>
                <c:pt idx="1654">
                  <c:v>1.0788523618035828</c:v>
                </c:pt>
                <c:pt idx="1655">
                  <c:v>1.0660821896377373</c:v>
                </c:pt>
                <c:pt idx="1656">
                  <c:v>1.0575376121531916</c:v>
                </c:pt>
                <c:pt idx="1657">
                  <c:v>1.060664724541249</c:v>
                </c:pt>
                <c:pt idx="1658">
                  <c:v>1.0017201456732661</c:v>
                </c:pt>
                <c:pt idx="1659">
                  <c:v>1.0249817755406032</c:v>
                </c:pt>
                <c:pt idx="1660">
                  <c:v>1.0181556258291435</c:v>
                </c:pt>
                <c:pt idx="1661">
                  <c:v>0.98042780828427634</c:v>
                </c:pt>
                <c:pt idx="1662">
                  <c:v>1.0160909469309209</c:v>
                </c:pt>
                <c:pt idx="1663">
                  <c:v>1.0222246511344493</c:v>
                </c:pt>
                <c:pt idx="1664">
                  <c:v>1.0305677550674115</c:v>
                </c:pt>
                <c:pt idx="1665">
                  <c:v>1.0286532164093221</c:v>
                </c:pt>
                <c:pt idx="1666">
                  <c:v>1.0550572034650585</c:v>
                </c:pt>
                <c:pt idx="1667">
                  <c:v>1.0433597870043685</c:v>
                </c:pt>
                <c:pt idx="1668">
                  <c:v>1.0520269831274394</c:v>
                </c:pt>
                <c:pt idx="1669">
                  <c:v>1.0285950818181964</c:v>
                </c:pt>
                <c:pt idx="1670">
                  <c:v>1.0074805606549713</c:v>
                </c:pt>
                <c:pt idx="1671">
                  <c:v>1.0118750540403718</c:v>
                </c:pt>
                <c:pt idx="1672">
                  <c:v>0.98915754398540234</c:v>
                </c:pt>
                <c:pt idx="1673">
                  <c:v>0.99700645234579999</c:v>
                </c:pt>
                <c:pt idx="1674">
                  <c:v>1.0317384935246696</c:v>
                </c:pt>
                <c:pt idx="1675">
                  <c:v>1.0202979675301587</c:v>
                </c:pt>
                <c:pt idx="1676">
                  <c:v>1.0132306930842365</c:v>
                </c:pt>
                <c:pt idx="1677">
                  <c:v>1.0477391327736758</c:v>
                </c:pt>
                <c:pt idx="1678">
                  <c:v>1.0548010015150022</c:v>
                </c:pt>
                <c:pt idx="1679">
                  <c:v>1.0594038411107776</c:v>
                </c:pt>
                <c:pt idx="1680">
                  <c:v>1.0482768743075792</c:v>
                </c:pt>
                <c:pt idx="1681">
                  <c:v>1.0348737617956438</c:v>
                </c:pt>
                <c:pt idx="1682">
                  <c:v>1.0130314302635821</c:v>
                </c:pt>
                <c:pt idx="1683">
                  <c:v>1.0334775040562127</c:v>
                </c:pt>
                <c:pt idx="1684">
                  <c:v>1.0288941567874423</c:v>
                </c:pt>
                <c:pt idx="1685">
                  <c:v>1.0256157732263567</c:v>
                </c:pt>
                <c:pt idx="1686">
                  <c:v>1.0096076296604857</c:v>
                </c:pt>
                <c:pt idx="1687">
                  <c:v>1.0110773494905188</c:v>
                </c:pt>
                <c:pt idx="1688">
                  <c:v>1.0356095557104936</c:v>
                </c:pt>
                <c:pt idx="1689">
                  <c:v>1.033181119257425</c:v>
                </c:pt>
                <c:pt idx="1690">
                  <c:v>1.0805147130679613</c:v>
                </c:pt>
                <c:pt idx="1691">
                  <c:v>1.0896404708607093</c:v>
                </c:pt>
                <c:pt idx="1692">
                  <c:v>1.0527560902906232</c:v>
                </c:pt>
                <c:pt idx="1693">
                  <c:v>1.0718933259481271</c:v>
                </c:pt>
                <c:pt idx="1694">
                  <c:v>1.1038428951056085</c:v>
                </c:pt>
                <c:pt idx="1695">
                  <c:v>1.0777944605464449</c:v>
                </c:pt>
                <c:pt idx="1696">
                  <c:v>1.092967928063282</c:v>
                </c:pt>
                <c:pt idx="1697">
                  <c:v>1.0909220971573905</c:v>
                </c:pt>
                <c:pt idx="1698">
                  <c:v>1.0470180519226213</c:v>
                </c:pt>
                <c:pt idx="1699">
                  <c:v>1.043797262329748</c:v>
                </c:pt>
                <c:pt idx="1700">
                  <c:v>1.1993088341437479</c:v>
                </c:pt>
                <c:pt idx="1701">
                  <c:v>1.2038444301015239</c:v>
                </c:pt>
                <c:pt idx="1702">
                  <c:v>1.2248981778389787</c:v>
                </c:pt>
                <c:pt idx="1703">
                  <c:v>1.2587006149996514</c:v>
                </c:pt>
                <c:pt idx="1704">
                  <c:v>1.2868061005578391</c:v>
                </c:pt>
                <c:pt idx="1705">
                  <c:v>1.3236147618009848</c:v>
                </c:pt>
                <c:pt idx="1706">
                  <c:v>1.3755032529784528</c:v>
                </c:pt>
                <c:pt idx="1707">
                  <c:v>1.3774379630488403</c:v>
                </c:pt>
                <c:pt idx="1708">
                  <c:v>1.4212273484549998</c:v>
                </c:pt>
                <c:pt idx="1709">
                  <c:v>1.4440490697231472</c:v>
                </c:pt>
                <c:pt idx="1710">
                  <c:v>1.4806254978644702</c:v>
                </c:pt>
                <c:pt idx="1711">
                  <c:v>1.4673536643925413</c:v>
                </c:pt>
                <c:pt idx="1712">
                  <c:v>1.4983455743629512</c:v>
                </c:pt>
                <c:pt idx="1713">
                  <c:v>1.519615525427658</c:v>
                </c:pt>
                <c:pt idx="1714">
                  <c:v>1.5128733380088828</c:v>
                </c:pt>
                <c:pt idx="1715">
                  <c:v>1.4535243665280568</c:v>
                </c:pt>
                <c:pt idx="1716">
                  <c:v>1.4555759329619506</c:v>
                </c:pt>
                <c:pt idx="1717">
                  <c:v>1.4444728884879174</c:v>
                </c:pt>
                <c:pt idx="1718">
                  <c:v>1.3623296277841332</c:v>
                </c:pt>
                <c:pt idx="1719">
                  <c:v>1.343994487267443</c:v>
                </c:pt>
                <c:pt idx="1720">
                  <c:v>1.2071902637581748</c:v>
                </c:pt>
                <c:pt idx="1721">
                  <c:v>1.1653700201312893</c:v>
                </c:pt>
                <c:pt idx="1722">
                  <c:v>1.0721540342934641</c:v>
                </c:pt>
                <c:pt idx="1723">
                  <c:v>1.059077365015213</c:v>
                </c:pt>
                <c:pt idx="1724">
                  <c:v>1.0358517296438294</c:v>
                </c:pt>
                <c:pt idx="1725">
                  <c:v>0.90832048194569759</c:v>
                </c:pt>
                <c:pt idx="1726">
                  <c:v>0.81466890873830478</c:v>
                </c:pt>
                <c:pt idx="1727">
                  <c:v>0.80658997872325711</c:v>
                </c:pt>
                <c:pt idx="1728">
                  <c:v>0.66121975922575849</c:v>
                </c:pt>
                <c:pt idx="1729">
                  <c:v>0.60912972947259925</c:v>
                </c:pt>
                <c:pt idx="1730">
                  <c:v>0.59541534203800284</c:v>
                </c:pt>
                <c:pt idx="1731">
                  <c:v>0.57878633531565571</c:v>
                </c:pt>
                <c:pt idx="1732">
                  <c:v>0.57241160698698113</c:v>
                </c:pt>
                <c:pt idx="1733">
                  <c:v>0.58213060667028382</c:v>
                </c:pt>
                <c:pt idx="1734">
                  <c:v>0.61768713551897192</c:v>
                </c:pt>
                <c:pt idx="1735">
                  <c:v>0.60608909978488912</c:v>
                </c:pt>
                <c:pt idx="1736">
                  <c:v>0.61430374938333876</c:v>
                </c:pt>
                <c:pt idx="1737">
                  <c:v>0.58861475403766939</c:v>
                </c:pt>
                <c:pt idx="1738">
                  <c:v>0.577260473682224</c:v>
                </c:pt>
                <c:pt idx="1739">
                  <c:v>0.5952868138702867</c:v>
                </c:pt>
                <c:pt idx="1740">
                  <c:v>0.58181119881366228</c:v>
                </c:pt>
                <c:pt idx="1741">
                  <c:v>0.56792280947624474</c:v>
                </c:pt>
                <c:pt idx="1742">
                  <c:v>0.54603395757677142</c:v>
                </c:pt>
                <c:pt idx="1743">
                  <c:v>0.60271652061319658</c:v>
                </c:pt>
                <c:pt idx="1744">
                  <c:v>0.77858809713340116</c:v>
                </c:pt>
                <c:pt idx="1745">
                  <c:v>0.94370670598516582</c:v>
                </c:pt>
                <c:pt idx="1746">
                  <c:v>0.98042633394293555</c:v>
                </c:pt>
                <c:pt idx="1747">
                  <c:v>1.1480235231502791</c:v>
                </c:pt>
                <c:pt idx="1748">
                  <c:v>1.1797845830200606</c:v>
                </c:pt>
                <c:pt idx="1749">
                  <c:v>1.1834464695474951</c:v>
                </c:pt>
                <c:pt idx="1750">
                  <c:v>1.1877671561742114</c:v>
                </c:pt>
                <c:pt idx="1751">
                  <c:v>1.1795005410798607</c:v>
                </c:pt>
                <c:pt idx="1752">
                  <c:v>1.1844738734271549</c:v>
                </c:pt>
                <c:pt idx="1753">
                  <c:v>1.2021835411101107</c:v>
                </c:pt>
                <c:pt idx="1754">
                  <c:v>1.2440516504694221</c:v>
                </c:pt>
                <c:pt idx="1755">
                  <c:v>1.2487659592341551</c:v>
                </c:pt>
                <c:pt idx="1756">
                  <c:v>1.2408887328855867</c:v>
                </c:pt>
                <c:pt idx="1757">
                  <c:v>1.2331935033996502</c:v>
                </c:pt>
                <c:pt idx="1758">
                  <c:v>1.235868681066796</c:v>
                </c:pt>
                <c:pt idx="1759">
                  <c:v>1.2342865256743869</c:v>
                </c:pt>
                <c:pt idx="1760">
                  <c:v>1.2242263562248445</c:v>
                </c:pt>
                <c:pt idx="1761">
                  <c:v>1.2021969333386686</c:v>
                </c:pt>
                <c:pt idx="1762">
                  <c:v>1.3024413323748554</c:v>
                </c:pt>
                <c:pt idx="1763">
                  <c:v>1.2972521928803731</c:v>
                </c:pt>
                <c:pt idx="1764">
                  <c:v>1.3198939740546904</c:v>
                </c:pt>
                <c:pt idx="1765">
                  <c:v>1.2996126244609425</c:v>
                </c:pt>
                <c:pt idx="1766">
                  <c:v>1.2830270942380799</c:v>
                </c:pt>
                <c:pt idx="1767">
                  <c:v>1.2278266874154575</c:v>
                </c:pt>
                <c:pt idx="1768">
                  <c:v>1.2073709097059024</c:v>
                </c:pt>
                <c:pt idx="1769">
                  <c:v>1.1995125162877454</c:v>
                </c:pt>
                <c:pt idx="1770">
                  <c:v>1.1962731021597088</c:v>
                </c:pt>
                <c:pt idx="1771">
                  <c:v>1.1724036971175247</c:v>
                </c:pt>
                <c:pt idx="1772">
                  <c:v>1.1412067544857227</c:v>
                </c:pt>
                <c:pt idx="1773">
                  <c:v>1.1062021961000017</c:v>
                </c:pt>
                <c:pt idx="1774">
                  <c:v>1.1111760184769794</c:v>
                </c:pt>
                <c:pt idx="1775">
                  <c:v>1.0913838510436584</c:v>
                </c:pt>
                <c:pt idx="1776">
                  <c:v>1.0965482753651565</c:v>
                </c:pt>
                <c:pt idx="1777">
                  <c:v>1.0434967457294222</c:v>
                </c:pt>
                <c:pt idx="1778">
                  <c:v>1.0545661615741921</c:v>
                </c:pt>
                <c:pt idx="1779">
                  <c:v>1.0276810191758012</c:v>
                </c:pt>
                <c:pt idx="1780">
                  <c:v>1.0541389329595778</c:v>
                </c:pt>
                <c:pt idx="1781">
                  <c:v>1.0490060605324261</c:v>
                </c:pt>
                <c:pt idx="1782">
                  <c:v>1.035600668391184</c:v>
                </c:pt>
                <c:pt idx="1783">
                  <c:v>1.0069099028312019</c:v>
                </c:pt>
                <c:pt idx="1784">
                  <c:v>0.97814175800866376</c:v>
                </c:pt>
                <c:pt idx="1785">
                  <c:v>0.98364448913592484</c:v>
                </c:pt>
                <c:pt idx="1786">
                  <c:v>0.97617826734971769</c:v>
                </c:pt>
                <c:pt idx="1787">
                  <c:v>1.0342746489553785</c:v>
                </c:pt>
                <c:pt idx="1788">
                  <c:v>1.0424945518148461</c:v>
                </c:pt>
                <c:pt idx="1789">
                  <c:v>1.062561553319606</c:v>
                </c:pt>
                <c:pt idx="1790">
                  <c:v>1.0491242329185784</c:v>
                </c:pt>
                <c:pt idx="1791">
                  <c:v>1.0238748925068719</c:v>
                </c:pt>
                <c:pt idx="1792">
                  <c:v>1.0146022542521889</c:v>
                </c:pt>
                <c:pt idx="1793">
                  <c:v>1.0333296410544939</c:v>
                </c:pt>
                <c:pt idx="1794">
                  <c:v>1.0389836339668592</c:v>
                </c:pt>
                <c:pt idx="1795">
                  <c:v>0.98452458334711146</c:v>
                </c:pt>
                <c:pt idx="1796">
                  <c:v>0.96204822555009795</c:v>
                </c:pt>
                <c:pt idx="1797">
                  <c:v>1.0229827104701084</c:v>
                </c:pt>
                <c:pt idx="1798">
                  <c:v>1.0180922741051321</c:v>
                </c:pt>
                <c:pt idx="1799">
                  <c:v>1.0182034929227655</c:v>
                </c:pt>
                <c:pt idx="1800">
                  <c:v>1.0309738001940039</c:v>
                </c:pt>
                <c:pt idx="1801">
                  <c:v>1.0400897427724034</c:v>
                </c:pt>
                <c:pt idx="1802">
                  <c:v>1.0448839852023017</c:v>
                </c:pt>
                <c:pt idx="1803">
                  <c:v>1.0350305689437285</c:v>
                </c:pt>
                <c:pt idx="1804">
                  <c:v>1.0587977773036017</c:v>
                </c:pt>
                <c:pt idx="1805">
                  <c:v>1.0948311216332842</c:v>
                </c:pt>
                <c:pt idx="1806">
                  <c:v>1.0306355430587688</c:v>
                </c:pt>
                <c:pt idx="1807">
                  <c:v>1.0040197811212095</c:v>
                </c:pt>
                <c:pt idx="1808">
                  <c:v>1.009928864270113</c:v>
                </c:pt>
                <c:pt idx="1809">
                  <c:v>1.0290953460338135</c:v>
                </c:pt>
                <c:pt idx="1810">
                  <c:v>0.99453029661063908</c:v>
                </c:pt>
                <c:pt idx="1811">
                  <c:v>1.0116496634258183</c:v>
                </c:pt>
                <c:pt idx="1812">
                  <c:v>1.0180033620948361</c:v>
                </c:pt>
                <c:pt idx="1813">
                  <c:v>1.0169500324210625</c:v>
                </c:pt>
                <c:pt idx="1814">
                  <c:v>0.98214373373808694</c:v>
                </c:pt>
                <c:pt idx="1815">
                  <c:v>0.98232138866723751</c:v>
                </c:pt>
                <c:pt idx="1816">
                  <c:v>0.97645231287832734</c:v>
                </c:pt>
                <c:pt idx="1817">
                  <c:v>0.88237334311460902</c:v>
                </c:pt>
                <c:pt idx="1818">
                  <c:v>0.8899411137224178</c:v>
                </c:pt>
                <c:pt idx="1819">
                  <c:v>0.89589797740124633</c:v>
                </c:pt>
                <c:pt idx="1820">
                  <c:v>0.94522250329942925</c:v>
                </c:pt>
                <c:pt idx="1821">
                  <c:v>0.97282266473710166</c:v>
                </c:pt>
                <c:pt idx="1822">
                  <c:v>0.97614049294030147</c:v>
                </c:pt>
                <c:pt idx="1823">
                  <c:v>0.95722607065262433</c:v>
                </c:pt>
                <c:pt idx="1824">
                  <c:v>0.98053127932053963</c:v>
                </c:pt>
                <c:pt idx="1825">
                  <c:v>1.0182851894880101</c:v>
                </c:pt>
                <c:pt idx="1826">
                  <c:v>0.99019965777264041</c:v>
                </c:pt>
                <c:pt idx="1827">
                  <c:v>0.96137299972466383</c:v>
                </c:pt>
                <c:pt idx="1828">
                  <c:v>0.95999393192291316</c:v>
                </c:pt>
                <c:pt idx="1829">
                  <c:v>0.98563080340430087</c:v>
                </c:pt>
                <c:pt idx="1830">
                  <c:v>0.97371552566595221</c:v>
                </c:pt>
                <c:pt idx="1831">
                  <c:v>1.0140464845318204</c:v>
                </c:pt>
                <c:pt idx="1832">
                  <c:v>0.9938582671119689</c:v>
                </c:pt>
                <c:pt idx="1833">
                  <c:v>1.0145937621784493</c:v>
                </c:pt>
                <c:pt idx="1834">
                  <c:v>0.99880202678178076</c:v>
                </c:pt>
                <c:pt idx="1835">
                  <c:v>0.95434126515454509</c:v>
                </c:pt>
                <c:pt idx="1836">
                  <c:v>0.95515845680630673</c:v>
                </c:pt>
                <c:pt idx="1837">
                  <c:v>0.9687279749570441</c:v>
                </c:pt>
                <c:pt idx="1838">
                  <c:v>0.95129653568085426</c:v>
                </c:pt>
                <c:pt idx="1839">
                  <c:v>0.98684789175799081</c:v>
                </c:pt>
                <c:pt idx="1840">
                  <c:v>1.0075277099954492</c:v>
                </c:pt>
                <c:pt idx="1841">
                  <c:v>0.96713544347321445</c:v>
                </c:pt>
                <c:pt idx="1842">
                  <c:v>0.95697276195802639</c:v>
                </c:pt>
                <c:pt idx="1843">
                  <c:v>0.94419944626844088</c:v>
                </c:pt>
                <c:pt idx="1844">
                  <c:v>0.94068925247960711</c:v>
                </c:pt>
                <c:pt idx="1845">
                  <c:v>0.93329754826146005</c:v>
                </c:pt>
                <c:pt idx="1846">
                  <c:v>0.95576691760454824</c:v>
                </c:pt>
                <c:pt idx="1847">
                  <c:v>0.95379849907425074</c:v>
                </c:pt>
                <c:pt idx="1848">
                  <c:v>0.96998501928174563</c:v>
                </c:pt>
                <c:pt idx="1849">
                  <c:v>0.96870700613292704</c:v>
                </c:pt>
                <c:pt idx="1850">
                  <c:v>0.95428995810525197</c:v>
                </c:pt>
                <c:pt idx="1851">
                  <c:v>0.93026356443668279</c:v>
                </c:pt>
                <c:pt idx="1852">
                  <c:v>0.93450293676355822</c:v>
                </c:pt>
                <c:pt idx="1853">
                  <c:v>0.94081891923794392</c:v>
                </c:pt>
                <c:pt idx="1854">
                  <c:v>0.92654564997123257</c:v>
                </c:pt>
                <c:pt idx="1855">
                  <c:v>0.88140699157076829</c:v>
                </c:pt>
                <c:pt idx="1856">
                  <c:v>0.91851038174868416</c:v>
                </c:pt>
                <c:pt idx="1857">
                  <c:v>0.9393067484778197</c:v>
                </c:pt>
                <c:pt idx="1858">
                  <c:v>0.9941626959095804</c:v>
                </c:pt>
                <c:pt idx="1859">
                  <c:v>0.99051989208816615</c:v>
                </c:pt>
                <c:pt idx="1860">
                  <c:v>1.0338225681786397</c:v>
                </c:pt>
                <c:pt idx="1861">
                  <c:v>1.0110734535338788</c:v>
                </c:pt>
                <c:pt idx="1862">
                  <c:v>1.0427309651436254</c:v>
                </c:pt>
                <c:pt idx="1863">
                  <c:v>1.0426687830187489</c:v>
                </c:pt>
                <c:pt idx="1864">
                  <c:v>1.0682093996189344</c:v>
                </c:pt>
                <c:pt idx="1865">
                  <c:v>1.0691076014432248</c:v>
                </c:pt>
                <c:pt idx="1866">
                  <c:v>1.0619913294730188</c:v>
                </c:pt>
                <c:pt idx="1867">
                  <c:v>1.0801172097547493</c:v>
                </c:pt>
                <c:pt idx="1868">
                  <c:v>1.0854977803001375</c:v>
                </c:pt>
                <c:pt idx="1869">
                  <c:v>1.0831457548650909</c:v>
                </c:pt>
                <c:pt idx="1870">
                  <c:v>1.0873983919651624</c:v>
                </c:pt>
                <c:pt idx="1871">
                  <c:v>1.1099081751473352</c:v>
                </c:pt>
                <c:pt idx="1872">
                  <c:v>1.1148669516743941</c:v>
                </c:pt>
                <c:pt idx="1873">
                  <c:v>1.1217370802230706</c:v>
                </c:pt>
                <c:pt idx="1874">
                  <c:v>1.1538097651950716</c:v>
                </c:pt>
                <c:pt idx="1875">
                  <c:v>1.1853033646790028</c:v>
                </c:pt>
                <c:pt idx="1876">
                  <c:v>1.1660585051501768</c:v>
                </c:pt>
                <c:pt idx="1877">
                  <c:v>1.1762751727628691</c:v>
                </c:pt>
                <c:pt idx="1878">
                  <c:v>1.1771848653840424</c:v>
                </c:pt>
                <c:pt idx="1879">
                  <c:v>1.1632738023273714</c:v>
                </c:pt>
                <c:pt idx="1880">
                  <c:v>1.1359904348398893</c:v>
                </c:pt>
                <c:pt idx="1881">
                  <c:v>1.176251901871608</c:v>
                </c:pt>
                <c:pt idx="1882">
                  <c:v>1.1613852922249297</c:v>
                </c:pt>
                <c:pt idx="1883">
                  <c:v>1.1801892179727618</c:v>
                </c:pt>
                <c:pt idx="1884">
                  <c:v>1.1888579894833475</c:v>
                </c:pt>
                <c:pt idx="1885">
                  <c:v>1.1953213223279942</c:v>
                </c:pt>
                <c:pt idx="1886">
                  <c:v>1.199392397662441</c:v>
                </c:pt>
                <c:pt idx="1887">
                  <c:v>1.2096415833347018</c:v>
                </c:pt>
                <c:pt idx="1888">
                  <c:v>1.1988975942592477</c:v>
                </c:pt>
                <c:pt idx="1889">
                  <c:v>1.194037387887033</c:v>
                </c:pt>
                <c:pt idx="1890">
                  <c:v>1.1547559813317099</c:v>
                </c:pt>
                <c:pt idx="1891">
                  <c:v>1.1760729160084191</c:v>
                </c:pt>
                <c:pt idx="1892">
                  <c:v>1.180163841775423</c:v>
                </c:pt>
                <c:pt idx="1893">
                  <c:v>1.215188009698865</c:v>
                </c:pt>
                <c:pt idx="1894">
                  <c:v>1.21702404929526</c:v>
                </c:pt>
                <c:pt idx="1895">
                  <c:v>1.2366515141783008</c:v>
                </c:pt>
                <c:pt idx="1896">
                  <c:v>1.2827397570792003</c:v>
                </c:pt>
                <c:pt idx="1897">
                  <c:v>1.3000420983760328</c:v>
                </c:pt>
                <c:pt idx="1898">
                  <c:v>1.2751816947077286</c:v>
                </c:pt>
                <c:pt idx="1899">
                  <c:v>1.2357475483947917</c:v>
                </c:pt>
                <c:pt idx="1900">
                  <c:v>1.2912873754378948</c:v>
                </c:pt>
                <c:pt idx="1901">
                  <c:v>1.2919607126917874</c:v>
                </c:pt>
                <c:pt idx="1902">
                  <c:v>1.3232017341357944</c:v>
                </c:pt>
                <c:pt idx="1903">
                  <c:v>1.2952515023482591</c:v>
                </c:pt>
                <c:pt idx="1904">
                  <c:v>1.2259536340918018</c:v>
                </c:pt>
                <c:pt idx="1905">
                  <c:v>1.1443467977048012</c:v>
                </c:pt>
                <c:pt idx="1906">
                  <c:v>1.1071675634877942</c:v>
                </c:pt>
                <c:pt idx="1907">
                  <c:v>1.0936146823995747</c:v>
                </c:pt>
                <c:pt idx="1908">
                  <c:v>1.0873244797113988</c:v>
                </c:pt>
                <c:pt idx="1909">
                  <c:v>1.1261926280672017</c:v>
                </c:pt>
                <c:pt idx="1910">
                  <c:v>1.1192141679493144</c:v>
                </c:pt>
                <c:pt idx="1911">
                  <c:v>1.0807986946577712</c:v>
                </c:pt>
                <c:pt idx="1912">
                  <c:v>1.0599925352783686</c:v>
                </c:pt>
                <c:pt idx="1913">
                  <c:v>1.0311512225560564</c:v>
                </c:pt>
                <c:pt idx="1914">
                  <c:v>0.98087194735430283</c:v>
                </c:pt>
                <c:pt idx="1915">
                  <c:v>0.86555539446868601</c:v>
                </c:pt>
                <c:pt idx="1916">
                  <c:v>0.75411879382421287</c:v>
                </c:pt>
                <c:pt idx="1917">
                  <c:v>0.55115908160947735</c:v>
                </c:pt>
                <c:pt idx="1918">
                  <c:v>0.55874131151888817</c:v>
                </c:pt>
                <c:pt idx="1919">
                  <c:v>0.57619348830333306</c:v>
                </c:pt>
                <c:pt idx="1920">
                  <c:v>0.57757468097604381</c:v>
                </c:pt>
                <c:pt idx="1921">
                  <c:v>0.54747538565621956</c:v>
                </c:pt>
                <c:pt idx="1922">
                  <c:v>0.56509511046190641</c:v>
                </c:pt>
                <c:pt idx="1923">
                  <c:v>0.57047905761794349</c:v>
                </c:pt>
                <c:pt idx="1924">
                  <c:v>0.59830555007985242</c:v>
                </c:pt>
                <c:pt idx="1925">
                  <c:v>0.6419872341694306</c:v>
                </c:pt>
                <c:pt idx="1926">
                  <c:v>0.62814936775149377</c:v>
                </c:pt>
                <c:pt idx="1927">
                  <c:v>0.61382596893572572</c:v>
                </c:pt>
                <c:pt idx="1928">
                  <c:v>0.60040494552150903</c:v>
                </c:pt>
                <c:pt idx="1929">
                  <c:v>0.59806750179481649</c:v>
                </c:pt>
                <c:pt idx="1930">
                  <c:v>0.59732860254440512</c:v>
                </c:pt>
                <c:pt idx="1931">
                  <c:v>0.69162868178398784</c:v>
                </c:pt>
                <c:pt idx="1932">
                  <c:v>0.78875388514105271</c:v>
                </c:pt>
                <c:pt idx="1933">
                  <c:v>0.95059636163935202</c:v>
                </c:pt>
                <c:pt idx="1934">
                  <c:v>0.97836836809849292</c:v>
                </c:pt>
                <c:pt idx="1935">
                  <c:v>1.1279305145093439</c:v>
                </c:pt>
                <c:pt idx="1936">
                  <c:v>1.1554551738482672</c:v>
                </c:pt>
                <c:pt idx="1937">
                  <c:v>1.1798842041684039</c:v>
                </c:pt>
                <c:pt idx="1938">
                  <c:v>1.2719868525070788</c:v>
                </c:pt>
                <c:pt idx="1939">
                  <c:v>1.3046678356736421</c:v>
                </c:pt>
                <c:pt idx="1940">
                  <c:v>1.3220856111251968</c:v>
                </c:pt>
                <c:pt idx="1941">
                  <c:v>1.3533177495534656</c:v>
                </c:pt>
                <c:pt idx="1942">
                  <c:v>1.3435490317376906</c:v>
                </c:pt>
                <c:pt idx="1943">
                  <c:v>1.3428925767778039</c:v>
                </c:pt>
                <c:pt idx="1944">
                  <c:v>1.3680279751002635</c:v>
                </c:pt>
                <c:pt idx="1945">
                  <c:v>1.3620447166686593</c:v>
                </c:pt>
                <c:pt idx="1946">
                  <c:v>1.3404757136647447</c:v>
                </c:pt>
                <c:pt idx="1947">
                  <c:v>1.2920978831650933</c:v>
                </c:pt>
                <c:pt idx="1948">
                  <c:v>1.4024358573203901</c:v>
                </c:pt>
                <c:pt idx="1949">
                  <c:v>1.3911930039632503</c:v>
                </c:pt>
                <c:pt idx="1950">
                  <c:v>1.4014493458550723</c:v>
                </c:pt>
                <c:pt idx="1951">
                  <c:v>1.3587568216142387</c:v>
                </c:pt>
                <c:pt idx="1952">
                  <c:v>1.3456645076965061</c:v>
                </c:pt>
                <c:pt idx="1953">
                  <c:v>1.3328425405605424</c:v>
                </c:pt>
                <c:pt idx="1954">
                  <c:v>1.2988426732559823</c:v>
                </c:pt>
                <c:pt idx="1955">
                  <c:v>1.3268217789259609</c:v>
                </c:pt>
                <c:pt idx="1956">
                  <c:v>1.2974799696126522</c:v>
                </c:pt>
                <c:pt idx="1957">
                  <c:v>1.2512671052173123</c:v>
                </c:pt>
                <c:pt idx="1958">
                  <c:v>1.1821522115899525</c:v>
                </c:pt>
                <c:pt idx="1959">
                  <c:v>1.1346172017994804</c:v>
                </c:pt>
                <c:pt idx="1960">
                  <c:v>1.0823880795629561</c:v>
                </c:pt>
                <c:pt idx="1961">
                  <c:v>1.0751393967143059</c:v>
                </c:pt>
                <c:pt idx="1962">
                  <c:v>1.0974000278728688</c:v>
                </c:pt>
                <c:pt idx="1963">
                  <c:v>1.0892221822052923</c:v>
                </c:pt>
                <c:pt idx="1964">
                  <c:v>1.074435041969998</c:v>
                </c:pt>
                <c:pt idx="1965">
                  <c:v>1.0706006030574977</c:v>
                </c:pt>
                <c:pt idx="1966">
                  <c:v>1.0773293994700008</c:v>
                </c:pt>
                <c:pt idx="1967">
                  <c:v>1.1122946066926496</c:v>
                </c:pt>
                <c:pt idx="1968">
                  <c:v>1.094830992224969</c:v>
                </c:pt>
                <c:pt idx="1969">
                  <c:v>1.1000724720003261</c:v>
                </c:pt>
                <c:pt idx="1970">
                  <c:v>1.118001026291547</c:v>
                </c:pt>
                <c:pt idx="1971">
                  <c:v>1.0997875048670636</c:v>
                </c:pt>
                <c:pt idx="1972">
                  <c:v>1.1173331818923715</c:v>
                </c:pt>
                <c:pt idx="1973">
                  <c:v>1.12971311151147</c:v>
                </c:pt>
                <c:pt idx="1974">
                  <c:v>1.1106623243350322</c:v>
                </c:pt>
                <c:pt idx="1975">
                  <c:v>1.0870448405522131</c:v>
                </c:pt>
                <c:pt idx="1976">
                  <c:v>1.0868560153356406</c:v>
                </c:pt>
                <c:pt idx="1977">
                  <c:v>1.0738865025710989</c:v>
                </c:pt>
                <c:pt idx="1978">
                  <c:v>1.0633855951183526</c:v>
                </c:pt>
                <c:pt idx="1979">
                  <c:v>1.0596337994962468</c:v>
                </c:pt>
                <c:pt idx="1980">
                  <c:v>1.0710960753110967</c:v>
                </c:pt>
                <c:pt idx="1981">
                  <c:v>1.0963232357746515</c:v>
                </c:pt>
                <c:pt idx="1982">
                  <c:v>1.1105306557787171</c:v>
                </c:pt>
                <c:pt idx="1983">
                  <c:v>1.0735613619657671</c:v>
                </c:pt>
                <c:pt idx="1984">
                  <c:v>1.0293895263628194</c:v>
                </c:pt>
                <c:pt idx="1985">
                  <c:v>1.0421477929714495</c:v>
                </c:pt>
                <c:pt idx="1986">
                  <c:v>1.0508958619302196</c:v>
                </c:pt>
                <c:pt idx="1987">
                  <c:v>1.0270171137036477</c:v>
                </c:pt>
                <c:pt idx="1988">
                  <c:v>1.0149674685943677</c:v>
                </c:pt>
                <c:pt idx="1989">
                  <c:v>1.0223787154089743</c:v>
                </c:pt>
                <c:pt idx="1990">
                  <c:v>0.98205882947481871</c:v>
                </c:pt>
                <c:pt idx="1991">
                  <c:v>0.93982125431310215</c:v>
                </c:pt>
                <c:pt idx="1992">
                  <c:v>0.94922991972243387</c:v>
                </c:pt>
                <c:pt idx="1993">
                  <c:v>0.95465675986002285</c:v>
                </c:pt>
                <c:pt idx="1994">
                  <c:v>0.97710825302828863</c:v>
                </c:pt>
                <c:pt idx="1995">
                  <c:v>0.95990545068468514</c:v>
                </c:pt>
                <c:pt idx="1996">
                  <c:v>0.96377322089423401</c:v>
                </c:pt>
                <c:pt idx="1997">
                  <c:v>0.92647764611559724</c:v>
                </c:pt>
                <c:pt idx="1998">
                  <c:v>0.94358835289681209</c:v>
                </c:pt>
                <c:pt idx="1999">
                  <c:v>0.95665664311809873</c:v>
                </c:pt>
                <c:pt idx="2000">
                  <c:v>0.96983109187352334</c:v>
                </c:pt>
                <c:pt idx="2001">
                  <c:v>0.96435153648722105</c:v>
                </c:pt>
                <c:pt idx="2002">
                  <c:v>0.97385112808518914</c:v>
                </c:pt>
                <c:pt idx="2003">
                  <c:v>0.96745453468599107</c:v>
                </c:pt>
                <c:pt idx="2004">
                  <c:v>0.98067388485887563</c:v>
                </c:pt>
                <c:pt idx="2005">
                  <c:v>1.0243803785322569</c:v>
                </c:pt>
                <c:pt idx="2006">
                  <c:v>1.0221766957658094</c:v>
                </c:pt>
                <c:pt idx="2007">
                  <c:v>1.0417527526679067</c:v>
                </c:pt>
                <c:pt idx="2008">
                  <c:v>1.0187237167986856</c:v>
                </c:pt>
                <c:pt idx="2009">
                  <c:v>1.0149211085177769</c:v>
                </c:pt>
                <c:pt idx="2010">
                  <c:v>1.0258958969244145</c:v>
                </c:pt>
                <c:pt idx="2011">
                  <c:v>0.99241528848615523</c:v>
                </c:pt>
                <c:pt idx="2012">
                  <c:v>1.0146303785199875</c:v>
                </c:pt>
                <c:pt idx="2013">
                  <c:v>1.0302430766111457</c:v>
                </c:pt>
                <c:pt idx="2014">
                  <c:v>1.0448984980047407</c:v>
                </c:pt>
                <c:pt idx="2015">
                  <c:v>0.99941093724602892</c:v>
                </c:pt>
                <c:pt idx="2016">
                  <c:v>0.9668743579694894</c:v>
                </c:pt>
                <c:pt idx="2017">
                  <c:v>1.0317502024310738</c:v>
                </c:pt>
                <c:pt idx="2018">
                  <c:v>1.0465580687834271</c:v>
                </c:pt>
                <c:pt idx="2019">
                  <c:v>1.0251115627444853</c:v>
                </c:pt>
                <c:pt idx="2020">
                  <c:v>1.0650527642770131</c:v>
                </c:pt>
                <c:pt idx="2021">
                  <c:v>1.0874968052375678</c:v>
                </c:pt>
                <c:pt idx="2022">
                  <c:v>1.0672776952225198</c:v>
                </c:pt>
                <c:pt idx="2023">
                  <c:v>1.0596834512469435</c:v>
                </c:pt>
                <c:pt idx="2024">
                  <c:v>1.0784443277988525</c:v>
                </c:pt>
                <c:pt idx="2025">
                  <c:v>1.1270933486477888</c:v>
                </c:pt>
                <c:pt idx="2026">
                  <c:v>1.1352000364150125</c:v>
                </c:pt>
                <c:pt idx="2027">
                  <c:v>1.1196149771922723</c:v>
                </c:pt>
                <c:pt idx="2028">
                  <c:v>1.1089257507060184</c:v>
                </c:pt>
                <c:pt idx="2029">
                  <c:v>1.1025625905665546</c:v>
                </c:pt>
                <c:pt idx="2030">
                  <c:v>1.0993270574281329</c:v>
                </c:pt>
                <c:pt idx="2031">
                  <c:v>1.1092761515374931</c:v>
                </c:pt>
                <c:pt idx="2032">
                  <c:v>1.0776412437446921</c:v>
                </c:pt>
                <c:pt idx="2033">
                  <c:v>1.0631579224979157</c:v>
                </c:pt>
                <c:pt idx="2034">
                  <c:v>1.0134072203282369</c:v>
                </c:pt>
                <c:pt idx="2035">
                  <c:v>1.0294776957771743</c:v>
                </c:pt>
                <c:pt idx="2036">
                  <c:v>1.0168229112944975</c:v>
                </c:pt>
                <c:pt idx="2037">
                  <c:v>1.0467450328382686</c:v>
                </c:pt>
                <c:pt idx="2038">
                  <c:v>1.0795450789940451</c:v>
                </c:pt>
                <c:pt idx="2039">
                  <c:v>1.0857696682019569</c:v>
                </c:pt>
                <c:pt idx="2040">
                  <c:v>1.1311546736842937</c:v>
                </c:pt>
                <c:pt idx="2041">
                  <c:v>1.1711659364719125</c:v>
                </c:pt>
                <c:pt idx="2042">
                  <c:v>1.1621041370748963</c:v>
                </c:pt>
                <c:pt idx="2043">
                  <c:v>1.174106778997273</c:v>
                </c:pt>
                <c:pt idx="2044">
                  <c:v>1.1726475044213385</c:v>
                </c:pt>
                <c:pt idx="2045">
                  <c:v>1.2104012437033329</c:v>
                </c:pt>
                <c:pt idx="2046">
                  <c:v>1.2603448365241079</c:v>
                </c:pt>
                <c:pt idx="2047">
                  <c:v>1.2344104692052873</c:v>
                </c:pt>
                <c:pt idx="2048">
                  <c:v>1.2336056429701474</c:v>
                </c:pt>
                <c:pt idx="2049">
                  <c:v>1.2752195763375871</c:v>
                </c:pt>
                <c:pt idx="2050">
                  <c:v>1.2719864311199243</c:v>
                </c:pt>
                <c:pt idx="2051">
                  <c:v>1.258381105788807</c:v>
                </c:pt>
                <c:pt idx="2052">
                  <c:v>1.2637263399974361</c:v>
                </c:pt>
                <c:pt idx="2053">
                  <c:v>1.2705068197925948</c:v>
                </c:pt>
                <c:pt idx="2054">
                  <c:v>1.2576484676924689</c:v>
                </c:pt>
                <c:pt idx="2055">
                  <c:v>1.2363491686526009</c:v>
                </c:pt>
                <c:pt idx="2056">
                  <c:v>1.2326798622008863</c:v>
                </c:pt>
                <c:pt idx="2057">
                  <c:v>1.2417896422930204</c:v>
                </c:pt>
                <c:pt idx="2058">
                  <c:v>1.2315223653888852</c:v>
                </c:pt>
                <c:pt idx="2059">
                  <c:v>1.2004071081780023</c:v>
                </c:pt>
                <c:pt idx="2060">
                  <c:v>1.2241092063157826</c:v>
                </c:pt>
                <c:pt idx="2061">
                  <c:v>1.2157123400999652</c:v>
                </c:pt>
                <c:pt idx="2062">
                  <c:v>1.2083688658840426</c:v>
                </c:pt>
                <c:pt idx="2063">
                  <c:v>1.2196696794918591</c:v>
                </c:pt>
                <c:pt idx="2064">
                  <c:v>1.2072519915479456</c:v>
                </c:pt>
                <c:pt idx="2065">
                  <c:v>1.1976807466070476</c:v>
                </c:pt>
                <c:pt idx="2066">
                  <c:v>1.1838865418327573</c:v>
                </c:pt>
                <c:pt idx="2067">
                  <c:v>1.1897727575130166</c:v>
                </c:pt>
                <c:pt idx="2068">
                  <c:v>1.1584511241410502</c:v>
                </c:pt>
                <c:pt idx="2069">
                  <c:v>1.1389129239777263</c:v>
                </c:pt>
                <c:pt idx="2070">
                  <c:v>1.1063910208721774</c:v>
                </c:pt>
                <c:pt idx="2071">
                  <c:v>1.0605917959212736</c:v>
                </c:pt>
                <c:pt idx="2072">
                  <c:v>1.0487580892824508</c:v>
                </c:pt>
                <c:pt idx="2073">
                  <c:v>1.0402219752582416</c:v>
                </c:pt>
                <c:pt idx="2074">
                  <c:v>1.0357368479954721</c:v>
                </c:pt>
                <c:pt idx="2075">
                  <c:v>1.009172534353364</c:v>
                </c:pt>
                <c:pt idx="2076">
                  <c:v>0.93337533554091112</c:v>
                </c:pt>
                <c:pt idx="2077">
                  <c:v>0.91818354418712267</c:v>
                </c:pt>
                <c:pt idx="2078">
                  <c:v>0.88893256228947015</c:v>
                </c:pt>
                <c:pt idx="2079">
                  <c:v>0.89869088819993181</c:v>
                </c:pt>
                <c:pt idx="2080">
                  <c:v>0.88808843325513953</c:v>
                </c:pt>
                <c:pt idx="2081">
                  <c:v>0.88780025232732829</c:v>
                </c:pt>
                <c:pt idx="2082">
                  <c:v>0.88840119295974906</c:v>
                </c:pt>
                <c:pt idx="2083">
                  <c:v>0.89796833620028238</c:v>
                </c:pt>
                <c:pt idx="2084">
                  <c:v>0.88621734080564485</c:v>
                </c:pt>
                <c:pt idx="2085">
                  <c:v>0.91844034202164893</c:v>
                </c:pt>
                <c:pt idx="2086">
                  <c:v>0.91669943252156583</c:v>
                </c:pt>
                <c:pt idx="2087">
                  <c:v>0.9187238336898691</c:v>
                </c:pt>
                <c:pt idx="2088">
                  <c:v>0.91416710357098441</c:v>
                </c:pt>
                <c:pt idx="2089">
                  <c:v>0.94023346985108969</c:v>
                </c:pt>
                <c:pt idx="2090">
                  <c:v>0.92397164467745707</c:v>
                </c:pt>
                <c:pt idx="2091">
                  <c:v>0.94231138055515173</c:v>
                </c:pt>
                <c:pt idx="2092">
                  <c:v>0.97457636837228145</c:v>
                </c:pt>
                <c:pt idx="2093">
                  <c:v>0.97053762072787131</c:v>
                </c:pt>
                <c:pt idx="2094">
                  <c:v>0.98639339595656761</c:v>
                </c:pt>
                <c:pt idx="2095">
                  <c:v>0.96549830495573463</c:v>
                </c:pt>
                <c:pt idx="2096">
                  <c:v>0.95816729184498728</c:v>
                </c:pt>
                <c:pt idx="2097">
                  <c:v>0.9341398518581423</c:v>
                </c:pt>
                <c:pt idx="2098">
                  <c:v>0.94399706725735411</c:v>
                </c:pt>
                <c:pt idx="2099">
                  <c:v>0.96407703817592272</c:v>
                </c:pt>
                <c:pt idx="2100">
                  <c:v>0.96780463395908667</c:v>
                </c:pt>
                <c:pt idx="2101">
                  <c:v>0.97790785224038301</c:v>
                </c:pt>
                <c:pt idx="2102">
                  <c:v>0.98412177837731796</c:v>
                </c:pt>
                <c:pt idx="2103">
                  <c:v>1.002842327913211</c:v>
                </c:pt>
                <c:pt idx="2104">
                  <c:v>1.0432928762297571</c:v>
                </c:pt>
                <c:pt idx="2105">
                  <c:v>1.019032796853119</c:v>
                </c:pt>
                <c:pt idx="2106">
                  <c:v>1.0484122358289512</c:v>
                </c:pt>
                <c:pt idx="2107">
                  <c:v>1.0673539041845959</c:v>
                </c:pt>
                <c:pt idx="2108">
                  <c:v>1.0709127127963978</c:v>
                </c:pt>
                <c:pt idx="2109">
                  <c:v>1.0466944983373676</c:v>
                </c:pt>
                <c:pt idx="2110">
                  <c:v>1.0607915993024095</c:v>
                </c:pt>
                <c:pt idx="2111">
                  <c:v>1.020510290700881</c:v>
                </c:pt>
                <c:pt idx="2112">
                  <c:v>1.0211704620326767</c:v>
                </c:pt>
                <c:pt idx="2113">
                  <c:v>1.0206844364502283</c:v>
                </c:pt>
                <c:pt idx="2114">
                  <c:v>1.0247262311892245</c:v>
                </c:pt>
                <c:pt idx="2115">
                  <c:v>0.98736857304642145</c:v>
                </c:pt>
                <c:pt idx="2116">
                  <c:v>0.96448673799861795</c:v>
                </c:pt>
                <c:pt idx="2117">
                  <c:v>0.96309308325145193</c:v>
                </c:pt>
                <c:pt idx="2118">
                  <c:v>0.95013838363761005</c:v>
                </c:pt>
                <c:pt idx="2119">
                  <c:v>0.97008679998369951</c:v>
                </c:pt>
                <c:pt idx="2120">
                  <c:v>0.9641361801082915</c:v>
                </c:pt>
                <c:pt idx="2121">
                  <c:v>0.95260748204475942</c:v>
                </c:pt>
                <c:pt idx="2122">
                  <c:v>0.93450835300361579</c:v>
                </c:pt>
                <c:pt idx="2123">
                  <c:v>0.93298496002553488</c:v>
                </c:pt>
                <c:pt idx="2124">
                  <c:v>0.92735423678096951</c:v>
                </c:pt>
                <c:pt idx="2125">
                  <c:v>0.94935231567326994</c:v>
                </c:pt>
                <c:pt idx="2126">
                  <c:v>0.9492196523181804</c:v>
                </c:pt>
                <c:pt idx="2127">
                  <c:v>0.95832119776283542</c:v>
                </c:pt>
                <c:pt idx="2128">
                  <c:v>0.97006452805129029</c:v>
                </c:pt>
                <c:pt idx="2129">
                  <c:v>0.96284391828504945</c:v>
                </c:pt>
                <c:pt idx="2130">
                  <c:v>1.0133754641832216</c:v>
                </c:pt>
                <c:pt idx="2131">
                  <c:v>1.0126010176732303</c:v>
                </c:pt>
                <c:pt idx="2132">
                  <c:v>0.983966843080885</c:v>
                </c:pt>
                <c:pt idx="2133">
                  <c:v>0.93267316977294934</c:v>
                </c:pt>
                <c:pt idx="2134">
                  <c:v>0.89220697688105655</c:v>
                </c:pt>
                <c:pt idx="2135">
                  <c:v>0.93027781102925156</c:v>
                </c:pt>
                <c:pt idx="2136">
                  <c:v>0.93301115141456026</c:v>
                </c:pt>
                <c:pt idx="2137">
                  <c:v>0.94117461885066289</c:v>
                </c:pt>
                <c:pt idx="2138">
                  <c:v>0.94728948032401283</c:v>
                </c:pt>
                <c:pt idx="2139">
                  <c:v>0.92360755456090726</c:v>
                </c:pt>
                <c:pt idx="2140">
                  <c:v>0.92721497856770441</c:v>
                </c:pt>
                <c:pt idx="2141">
                  <c:v>0.97213878924971886</c:v>
                </c:pt>
                <c:pt idx="2142">
                  <c:v>0.99578984205453414</c:v>
                </c:pt>
                <c:pt idx="2143">
                  <c:v>0.95993548076358004</c:v>
                </c:pt>
                <c:pt idx="2144">
                  <c:v>0.96830458300528255</c:v>
                </c:pt>
                <c:pt idx="2145">
                  <c:v>0.94857141517088528</c:v>
                </c:pt>
                <c:pt idx="2146">
                  <c:v>0.94148965674521112</c:v>
                </c:pt>
                <c:pt idx="2147">
                  <c:v>0.94453212287872534</c:v>
                </c:pt>
                <c:pt idx="2148">
                  <c:v>0.95639409920619656</c:v>
                </c:pt>
                <c:pt idx="2149">
                  <c:v>0.94847882464404365</c:v>
                </c:pt>
                <c:pt idx="2150">
                  <c:v>0.95381536822321178</c:v>
                </c:pt>
                <c:pt idx="2151">
                  <c:v>0.96005732999054416</c:v>
                </c:pt>
                <c:pt idx="2152">
                  <c:v>0.95485784085406289</c:v>
                </c:pt>
                <c:pt idx="2153">
                  <c:v>0.98408157250078876</c:v>
                </c:pt>
                <c:pt idx="2154">
                  <c:v>1.0364481963342504</c:v>
                </c:pt>
                <c:pt idx="2155">
                  <c:v>1.0844008197534374</c:v>
                </c:pt>
                <c:pt idx="2156">
                  <c:v>1.0964158674722158</c:v>
                </c:pt>
                <c:pt idx="2157">
                  <c:v>1.0781139423164838</c:v>
                </c:pt>
                <c:pt idx="2158">
                  <c:v>1.0643905250052881</c:v>
                </c:pt>
                <c:pt idx="2159">
                  <c:v>1.080894826683956</c:v>
                </c:pt>
                <c:pt idx="2160">
                  <c:v>1.0451463746914704</c:v>
                </c:pt>
                <c:pt idx="2161">
                  <c:v>1.0649762024975333</c:v>
                </c:pt>
                <c:pt idx="2162">
                  <c:v>1.0661588276592697</c:v>
                </c:pt>
                <c:pt idx="2163">
                  <c:v>1.0765305917985286</c:v>
                </c:pt>
                <c:pt idx="2164">
                  <c:v>1.0911716508144924</c:v>
                </c:pt>
                <c:pt idx="2165">
                  <c:v>1.0730675742345468</c:v>
                </c:pt>
                <c:pt idx="2166">
                  <c:v>1.0732650666229349</c:v>
                </c:pt>
                <c:pt idx="2167">
                  <c:v>1.0583939174013888</c:v>
                </c:pt>
                <c:pt idx="2168">
                  <c:v>1.0398963100149157</c:v>
                </c:pt>
                <c:pt idx="2169">
                  <c:v>1.0432791975702884</c:v>
                </c:pt>
                <c:pt idx="2170">
                  <c:v>1.0321260737617266</c:v>
                </c:pt>
                <c:pt idx="2171">
                  <c:v>1.021952950048048</c:v>
                </c:pt>
                <c:pt idx="2172">
                  <c:v>1.0132178704377073</c:v>
                </c:pt>
                <c:pt idx="2173">
                  <c:v>1.0548071475567251</c:v>
                </c:pt>
                <c:pt idx="2174">
                  <c:v>1.0564031932259799</c:v>
                </c:pt>
                <c:pt idx="2175">
                  <c:v>1.0668623644995685</c:v>
                </c:pt>
                <c:pt idx="2176">
                  <c:v>1.0774985250700075</c:v>
                </c:pt>
                <c:pt idx="2177">
                  <c:v>1.1096494708189262</c:v>
                </c:pt>
                <c:pt idx="2178">
                  <c:v>1.1225241149954104</c:v>
                </c:pt>
                <c:pt idx="2179">
                  <c:v>1.0961386938945916</c:v>
                </c:pt>
                <c:pt idx="2180">
                  <c:v>1.0859974175432165</c:v>
                </c:pt>
                <c:pt idx="2181">
                  <c:v>1.0770255013026608</c:v>
                </c:pt>
                <c:pt idx="2182">
                  <c:v>1.1344573593464042</c:v>
                </c:pt>
                <c:pt idx="2183">
                  <c:v>1.1097109161875121</c:v>
                </c:pt>
                <c:pt idx="2184">
                  <c:v>1.0948922927691918</c:v>
                </c:pt>
                <c:pt idx="2185">
                  <c:v>1.0642246897755858</c:v>
                </c:pt>
                <c:pt idx="2186">
                  <c:v>1.0625580970868977</c:v>
                </c:pt>
                <c:pt idx="2187">
                  <c:v>1.0426748715973786</c:v>
                </c:pt>
                <c:pt idx="2188">
                  <c:v>1.0679420560083375</c:v>
                </c:pt>
                <c:pt idx="2189">
                  <c:v>1.0656367240119453</c:v>
                </c:pt>
                <c:pt idx="2190">
                  <c:v>1.0752325883027471</c:v>
                </c:pt>
                <c:pt idx="2191">
                  <c:v>1.0818107958699688</c:v>
                </c:pt>
                <c:pt idx="2192">
                  <c:v>1.0744259557112925</c:v>
                </c:pt>
                <c:pt idx="2193">
                  <c:v>1.1192985272667431</c:v>
                </c:pt>
                <c:pt idx="2194">
                  <c:v>1.1246434305572655</c:v>
                </c:pt>
                <c:pt idx="2195">
                  <c:v>1.1113462575300246</c:v>
                </c:pt>
                <c:pt idx="2196">
                  <c:v>1.1004040451913724</c:v>
                </c:pt>
                <c:pt idx="2197">
                  <c:v>1.0765419463858894</c:v>
                </c:pt>
                <c:pt idx="2198">
                  <c:v>1.083003295304465</c:v>
                </c:pt>
                <c:pt idx="2199">
                  <c:v>1.076110477443418</c:v>
                </c:pt>
                <c:pt idx="2200">
                  <c:v>1.0487977967722426</c:v>
                </c:pt>
                <c:pt idx="2201">
                  <c:v>1.0313771547291679</c:v>
                </c:pt>
                <c:pt idx="2202">
                  <c:v>1.031133879405602</c:v>
                </c:pt>
                <c:pt idx="2203">
                  <c:v>1.0222911881251668</c:v>
                </c:pt>
                <c:pt idx="2204">
                  <c:v>1.0000776331646841</c:v>
                </c:pt>
                <c:pt idx="2205">
                  <c:v>0.99761932629157091</c:v>
                </c:pt>
                <c:pt idx="2206">
                  <c:v>1.008219680571629</c:v>
                </c:pt>
                <c:pt idx="2207">
                  <c:v>0.97531160748130707</c:v>
                </c:pt>
                <c:pt idx="2208">
                  <c:v>0.97487312438429963</c:v>
                </c:pt>
                <c:pt idx="2209">
                  <c:v>1.0135652645163984</c:v>
                </c:pt>
                <c:pt idx="2210">
                  <c:v>1.0354540134667962</c:v>
                </c:pt>
                <c:pt idx="2211">
                  <c:v>1.0315757170684789</c:v>
                </c:pt>
                <c:pt idx="2212">
                  <c:v>0.97808362633813117</c:v>
                </c:pt>
                <c:pt idx="2213">
                  <c:v>1.0016893481069189</c:v>
                </c:pt>
                <c:pt idx="2214">
                  <c:v>0.98408267223593238</c:v>
                </c:pt>
                <c:pt idx="2215">
                  <c:v>0.97706339457429436</c:v>
                </c:pt>
                <c:pt idx="2216">
                  <c:v>0.9973304865106265</c:v>
                </c:pt>
                <c:pt idx="2217">
                  <c:v>1.0125145368544899</c:v>
                </c:pt>
                <c:pt idx="2218">
                  <c:v>1.0172843271715775</c:v>
                </c:pt>
                <c:pt idx="2219">
                  <c:v>1.0394126167219215</c:v>
                </c:pt>
                <c:pt idx="2220">
                  <c:v>1.0105671239109326</c:v>
                </c:pt>
                <c:pt idx="2221">
                  <c:v>0.99216875176051555</c:v>
                </c:pt>
                <c:pt idx="2222">
                  <c:v>1.0111322538316638</c:v>
                </c:pt>
                <c:pt idx="2223">
                  <c:v>0.97192316544250246</c:v>
                </c:pt>
                <c:pt idx="2224">
                  <c:v>1.4547791809182551</c:v>
                </c:pt>
                <c:pt idx="2225">
                  <c:v>1.599662660554136</c:v>
                </c:pt>
                <c:pt idx="2226">
                  <c:v>1.7554589250566675</c:v>
                </c:pt>
                <c:pt idx="2227">
                  <c:v>1.9261541426938409</c:v>
                </c:pt>
                <c:pt idx="2228">
                  <c:v>1.9667109363831414</c:v>
                </c:pt>
                <c:pt idx="2229">
                  <c:v>2.0199090394297494</c:v>
                </c:pt>
                <c:pt idx="2230">
                  <c:v>2.0963606283400456</c:v>
                </c:pt>
                <c:pt idx="2231">
                  <c:v>2.1930960496453791</c:v>
                </c:pt>
                <c:pt idx="2232">
                  <c:v>2.1970675524993171</c:v>
                </c:pt>
                <c:pt idx="2233">
                  <c:v>2.2995072090482989</c:v>
                </c:pt>
                <c:pt idx="2234">
                  <c:v>2.4994486362798023</c:v>
                </c:pt>
                <c:pt idx="2235">
                  <c:v>2.6474138488592711</c:v>
                </c:pt>
                <c:pt idx="2236">
                  <c:v>2.7324852460062345</c:v>
                </c:pt>
                <c:pt idx="2237">
                  <c:v>2.7640245755427362</c:v>
                </c:pt>
                <c:pt idx="2238">
                  <c:v>2.8388186603808743</c:v>
                </c:pt>
                <c:pt idx="2239">
                  <c:v>2.817200571749936</c:v>
                </c:pt>
                <c:pt idx="2240">
                  <c:v>2.8905987027028814</c:v>
                </c:pt>
                <c:pt idx="2241">
                  <c:v>3.0447113878538818</c:v>
                </c:pt>
                <c:pt idx="2242">
                  <c:v>3.0335051624930145</c:v>
                </c:pt>
                <c:pt idx="2243">
                  <c:v>3.0129694526333779</c:v>
                </c:pt>
                <c:pt idx="2244">
                  <c:v>3.0589373479035045</c:v>
                </c:pt>
                <c:pt idx="2245">
                  <c:v>3.0651890390818126</c:v>
                </c:pt>
                <c:pt idx="2246">
                  <c:v>3.075245967273128</c:v>
                </c:pt>
                <c:pt idx="2247">
                  <c:v>3.2261212467118225</c:v>
                </c:pt>
                <c:pt idx="2248">
                  <c:v>3.3679831212942011</c:v>
                </c:pt>
                <c:pt idx="2249">
                  <c:v>3.4178361081760187</c:v>
                </c:pt>
                <c:pt idx="2250">
                  <c:v>3.4827492290613424</c:v>
                </c:pt>
                <c:pt idx="2251">
                  <c:v>3.4679280450828998</c:v>
                </c:pt>
                <c:pt idx="2252">
                  <c:v>3.483127270051277</c:v>
                </c:pt>
                <c:pt idx="2253">
                  <c:v>3.4865950212200909</c:v>
                </c:pt>
                <c:pt idx="2254">
                  <c:v>3.4189726485431233</c:v>
                </c:pt>
                <c:pt idx="2255">
                  <c:v>3.3677526891695955</c:v>
                </c:pt>
                <c:pt idx="2256">
                  <c:v>3.4524858865943955</c:v>
                </c:pt>
                <c:pt idx="2257">
                  <c:v>3.4098648266708693</c:v>
                </c:pt>
                <c:pt idx="2258">
                  <c:v>3.5281255313332363</c:v>
                </c:pt>
                <c:pt idx="2259">
                  <c:v>3.5296139758149652</c:v>
                </c:pt>
                <c:pt idx="2260">
                  <c:v>3.5076571880830869</c:v>
                </c:pt>
                <c:pt idx="2261">
                  <c:v>3.4711725241792664</c:v>
                </c:pt>
                <c:pt idx="2262">
                  <c:v>3.5103168693579638</c:v>
                </c:pt>
                <c:pt idx="2263">
                  <c:v>3.4994569688692607</c:v>
                </c:pt>
                <c:pt idx="2264">
                  <c:v>3.4265880735161991</c:v>
                </c:pt>
                <c:pt idx="2265">
                  <c:v>3.4065795010182454</c:v>
                </c:pt>
                <c:pt idx="2266">
                  <c:v>3.3710868146860209</c:v>
                </c:pt>
                <c:pt idx="2267">
                  <c:v>3.3296416182186377</c:v>
                </c:pt>
                <c:pt idx="2268">
                  <c:v>3.2938831113330718</c:v>
                </c:pt>
                <c:pt idx="2269">
                  <c:v>3.3449030386238547</c:v>
                </c:pt>
                <c:pt idx="2270">
                  <c:v>3.3640254155934173</c:v>
                </c:pt>
                <c:pt idx="2271">
                  <c:v>3.3461420836211619</c:v>
                </c:pt>
                <c:pt idx="2272">
                  <c:v>3.3746363985991117</c:v>
                </c:pt>
                <c:pt idx="2273">
                  <c:v>3.399661732571654</c:v>
                </c:pt>
                <c:pt idx="2274">
                  <c:v>3.2354701370696679</c:v>
                </c:pt>
                <c:pt idx="2275">
                  <c:v>3.2541737793394478</c:v>
                </c:pt>
                <c:pt idx="2276">
                  <c:v>8.9428755172947128</c:v>
                </c:pt>
                <c:pt idx="2277">
                  <c:v>12.212049304026188</c:v>
                </c:pt>
                <c:pt idx="2278">
                  <c:v>14.640101039085053</c:v>
                </c:pt>
                <c:pt idx="2279">
                  <c:v>16.526412670694857</c:v>
                </c:pt>
                <c:pt idx="2280">
                  <c:v>18.115171811224172</c:v>
                </c:pt>
                <c:pt idx="2281">
                  <c:v>19.374344591800543</c:v>
                </c:pt>
                <c:pt idx="2282">
                  <c:v>20.494372268057496</c:v>
                </c:pt>
                <c:pt idx="2283">
                  <c:v>21.429468375762347</c:v>
                </c:pt>
                <c:pt idx="2284">
                  <c:v>22.179361636414054</c:v>
                </c:pt>
                <c:pt idx="2285">
                  <c:v>22.788061841230224</c:v>
                </c:pt>
                <c:pt idx="2286">
                  <c:v>23.114207137290823</c:v>
                </c:pt>
                <c:pt idx="2287">
                  <c:v>23.261436707550697</c:v>
                </c:pt>
                <c:pt idx="2288">
                  <c:v>23.360045495609459</c:v>
                </c:pt>
                <c:pt idx="2289">
                  <c:v>23.408482360660972</c:v>
                </c:pt>
                <c:pt idx="2290">
                  <c:v>23.468757771459853</c:v>
                </c:pt>
                <c:pt idx="2291">
                  <c:v>23.407034846301023</c:v>
                </c:pt>
                <c:pt idx="2292">
                  <c:v>23.55320515739561</c:v>
                </c:pt>
                <c:pt idx="2293">
                  <c:v>23.704493573826909</c:v>
                </c:pt>
                <c:pt idx="2294">
                  <c:v>23.847803374920129</c:v>
                </c:pt>
                <c:pt idx="2295">
                  <c:v>24.112569970681882</c:v>
                </c:pt>
                <c:pt idx="2296">
                  <c:v>24.312329035480779</c:v>
                </c:pt>
                <c:pt idx="2297">
                  <c:v>24.496168968194048</c:v>
                </c:pt>
                <c:pt idx="2298">
                  <c:v>24.651485188328003</c:v>
                </c:pt>
                <c:pt idx="2299">
                  <c:v>24.734857721543744</c:v>
                </c:pt>
                <c:pt idx="2300">
                  <c:v>24.798720534083689</c:v>
                </c:pt>
                <c:pt idx="2301">
                  <c:v>24.957543788708303</c:v>
                </c:pt>
                <c:pt idx="2302">
                  <c:v>25.019332172146488</c:v>
                </c:pt>
                <c:pt idx="2303">
                  <c:v>25.196802655627611</c:v>
                </c:pt>
                <c:pt idx="2304">
                  <c:v>25.259181691797178</c:v>
                </c:pt>
                <c:pt idx="2305">
                  <c:v>25.37444602010423</c:v>
                </c:pt>
                <c:pt idx="2306">
                  <c:v>25.443808922444894</c:v>
                </c:pt>
                <c:pt idx="2307">
                  <c:v>25.424009267743887</c:v>
                </c:pt>
                <c:pt idx="2308">
                  <c:v>25.248662256818989</c:v>
                </c:pt>
                <c:pt idx="2309">
                  <c:v>24.911782215574025</c:v>
                </c:pt>
                <c:pt idx="2310">
                  <c:v>24.487130226509056</c:v>
                </c:pt>
                <c:pt idx="2311">
                  <c:v>23.921429766911903</c:v>
                </c:pt>
                <c:pt idx="2312">
                  <c:v>23.236109226156007</c:v>
                </c:pt>
                <c:pt idx="2313">
                  <c:v>22.385609533204608</c:v>
                </c:pt>
                <c:pt idx="2314">
                  <c:v>21.384849008348716</c:v>
                </c:pt>
                <c:pt idx="2315">
                  <c:v>20.188729647783205</c:v>
                </c:pt>
                <c:pt idx="2316">
                  <c:v>18.761230379534183</c:v>
                </c:pt>
                <c:pt idx="2317">
                  <c:v>17.0764199194413</c:v>
                </c:pt>
                <c:pt idx="2318">
                  <c:v>15.031777976157992</c:v>
                </c:pt>
                <c:pt idx="2319">
                  <c:v>12.422626345174614</c:v>
                </c:pt>
                <c:pt idx="2320">
                  <c:v>8.8522786775844491</c:v>
                </c:pt>
                <c:pt idx="2321">
                  <c:v>1.0802311009836221</c:v>
                </c:pt>
                <c:pt idx="2322">
                  <c:v>1.0614885297618133</c:v>
                </c:pt>
                <c:pt idx="2323">
                  <c:v>1.0617973302342174</c:v>
                </c:pt>
                <c:pt idx="2324">
                  <c:v>1.0577686670902886</c:v>
                </c:pt>
                <c:pt idx="2325">
                  <c:v>1.0549216257656735</c:v>
                </c:pt>
                <c:pt idx="2326">
                  <c:v>1.1076230531933564</c:v>
                </c:pt>
                <c:pt idx="2327">
                  <c:v>1.0544820616941684</c:v>
                </c:pt>
                <c:pt idx="2328">
                  <c:v>1.062138208088564</c:v>
                </c:pt>
                <c:pt idx="2329">
                  <c:v>1.0783312097680862</c:v>
                </c:pt>
                <c:pt idx="2330">
                  <c:v>1.1177922355775742</c:v>
                </c:pt>
                <c:pt idx="2331">
                  <c:v>1.0931698523939748</c:v>
                </c:pt>
                <c:pt idx="2332">
                  <c:v>1.1197590078574864</c:v>
                </c:pt>
                <c:pt idx="2333">
                  <c:v>1.0886709990897192</c:v>
                </c:pt>
                <c:pt idx="2334">
                  <c:v>1.0563137096139736</c:v>
                </c:pt>
                <c:pt idx="2335">
                  <c:v>0.99544266584179542</c:v>
                </c:pt>
                <c:pt idx="2336">
                  <c:v>1.0085645804320209</c:v>
                </c:pt>
                <c:pt idx="2337">
                  <c:v>1.006494447096554</c:v>
                </c:pt>
                <c:pt idx="2338">
                  <c:v>1.0311876773595636</c:v>
                </c:pt>
                <c:pt idx="2339">
                  <c:v>1.0893787528799945</c:v>
                </c:pt>
                <c:pt idx="2340">
                  <c:v>1.1169113363987999</c:v>
                </c:pt>
                <c:pt idx="2341">
                  <c:v>1.1292847666450663</c:v>
                </c:pt>
                <c:pt idx="2342">
                  <c:v>1.1302820545277512</c:v>
                </c:pt>
                <c:pt idx="2343">
                  <c:v>1.1677406731533881</c:v>
                </c:pt>
                <c:pt idx="2344">
                  <c:v>1.2244669543981694</c:v>
                </c:pt>
                <c:pt idx="2345">
                  <c:v>1.2069097256590697</c:v>
                </c:pt>
                <c:pt idx="2346">
                  <c:v>1.1808707312769291</c:v>
                </c:pt>
                <c:pt idx="2347">
                  <c:v>1.1805699065791648</c:v>
                </c:pt>
                <c:pt idx="2348">
                  <c:v>1.1860759962551035</c:v>
                </c:pt>
                <c:pt idx="2349">
                  <c:v>1.1853845321935204</c:v>
                </c:pt>
                <c:pt idx="2350">
                  <c:v>1.191879126793884</c:v>
                </c:pt>
                <c:pt idx="2351">
                  <c:v>1.2145978468179062</c:v>
                </c:pt>
                <c:pt idx="2352">
                  <c:v>1.2230224429742691</c:v>
                </c:pt>
                <c:pt idx="2353">
                  <c:v>1.2276437685178634</c:v>
                </c:pt>
                <c:pt idx="2354">
                  <c:v>1.2533566028055922</c:v>
                </c:pt>
                <c:pt idx="2355">
                  <c:v>1.2531660727939746</c:v>
                </c:pt>
                <c:pt idx="2356">
                  <c:v>1.2388180436142999</c:v>
                </c:pt>
                <c:pt idx="2357">
                  <c:v>1.2704639587932434</c:v>
                </c:pt>
                <c:pt idx="2358">
                  <c:v>1.2566570135549466</c:v>
                </c:pt>
                <c:pt idx="2359">
                  <c:v>1.2701584561733881</c:v>
                </c:pt>
                <c:pt idx="2360">
                  <c:v>1.2294808487105933</c:v>
                </c:pt>
                <c:pt idx="2361">
                  <c:v>1.1953601916086372</c:v>
                </c:pt>
                <c:pt idx="2362">
                  <c:v>1.1881140493265563</c:v>
                </c:pt>
                <c:pt idx="2363">
                  <c:v>1.1986474539418748</c:v>
                </c:pt>
                <c:pt idx="2364">
                  <c:v>1.1980862921465276</c:v>
                </c:pt>
                <c:pt idx="2365">
                  <c:v>1.2050599169806941</c:v>
                </c:pt>
                <c:pt idx="2366">
                  <c:v>1.1915910651184507</c:v>
                </c:pt>
                <c:pt idx="2367">
                  <c:v>1.1643525534629031</c:v>
                </c:pt>
                <c:pt idx="2368">
                  <c:v>1.1609799862117063</c:v>
                </c:pt>
                <c:pt idx="2369">
                  <c:v>1.1338803986077415</c:v>
                </c:pt>
                <c:pt idx="2370">
                  <c:v>1.1082658513017645</c:v>
                </c:pt>
                <c:pt idx="2371">
                  <c:v>1.1377212356681408</c:v>
                </c:pt>
                <c:pt idx="2372">
                  <c:v>1.1261928254145583</c:v>
                </c:pt>
                <c:pt idx="2373">
                  <c:v>1.1465117300447478</c:v>
                </c:pt>
                <c:pt idx="2374">
                  <c:v>1.1286921180924279</c:v>
                </c:pt>
                <c:pt idx="2375">
                  <c:v>1.1472415607687307</c:v>
                </c:pt>
                <c:pt idx="2376">
                  <c:v>1.167216602605192</c:v>
                </c:pt>
                <c:pt idx="2377">
                  <c:v>1.1935762053583443</c:v>
                </c:pt>
                <c:pt idx="2378">
                  <c:v>1.1683230579153114</c:v>
                </c:pt>
                <c:pt idx="2379">
                  <c:v>1.1686800820697241</c:v>
                </c:pt>
                <c:pt idx="2380">
                  <c:v>1.1609548529688849</c:v>
                </c:pt>
                <c:pt idx="2381">
                  <c:v>1.1406518665723324</c:v>
                </c:pt>
                <c:pt idx="2382">
                  <c:v>1.1060429756473154</c:v>
                </c:pt>
                <c:pt idx="2383">
                  <c:v>1.0780152637970732</c:v>
                </c:pt>
                <c:pt idx="2384">
                  <c:v>1.0585574113752247</c:v>
                </c:pt>
                <c:pt idx="2385">
                  <c:v>1.0390234916585863</c:v>
                </c:pt>
                <c:pt idx="2386">
                  <c:v>1.0032148929363243</c:v>
                </c:pt>
                <c:pt idx="2387">
                  <c:v>0.9873011836931993</c:v>
                </c:pt>
                <c:pt idx="2388">
                  <c:v>1.0328117620265638</c:v>
                </c:pt>
                <c:pt idx="2389">
                  <c:v>1.0454007588292016</c:v>
                </c:pt>
                <c:pt idx="2390">
                  <c:v>1.0867907842698399</c:v>
                </c:pt>
                <c:pt idx="2391">
                  <c:v>1.0670927762368121</c:v>
                </c:pt>
                <c:pt idx="2392">
                  <c:v>1.0442995285201981</c:v>
                </c:pt>
                <c:pt idx="2393">
                  <c:v>1.0289609775458353</c:v>
                </c:pt>
                <c:pt idx="2394">
                  <c:v>1.0327695101238095</c:v>
                </c:pt>
                <c:pt idx="2395">
                  <c:v>1.0229674267883337</c:v>
                </c:pt>
                <c:pt idx="2396">
                  <c:v>1.0241903183323271</c:v>
                </c:pt>
                <c:pt idx="2397">
                  <c:v>1.0215745229748399</c:v>
                </c:pt>
                <c:pt idx="2398">
                  <c:v>1.0517828782716119</c:v>
                </c:pt>
                <c:pt idx="2399">
                  <c:v>1.0355350509352808</c:v>
                </c:pt>
                <c:pt idx="2400">
                  <c:v>1.0360472180813296</c:v>
                </c:pt>
                <c:pt idx="2401">
                  <c:v>1.0039252377870569</c:v>
                </c:pt>
                <c:pt idx="2402">
                  <c:v>1.0145300350475168</c:v>
                </c:pt>
                <c:pt idx="2403">
                  <c:v>0.97085919465291726</c:v>
                </c:pt>
                <c:pt idx="2404">
                  <c:v>0.94527570121660442</c:v>
                </c:pt>
                <c:pt idx="2405">
                  <c:v>0.95142593394982566</c:v>
                </c:pt>
                <c:pt idx="2406">
                  <c:v>0.94262887877607016</c:v>
                </c:pt>
                <c:pt idx="2407">
                  <c:v>0.90350502015757383</c:v>
                </c:pt>
                <c:pt idx="2408">
                  <c:v>0.90609616397582005</c:v>
                </c:pt>
                <c:pt idx="2409">
                  <c:v>0.91536644957913826</c:v>
                </c:pt>
                <c:pt idx="2410">
                  <c:v>0.89577088154866957</c:v>
                </c:pt>
                <c:pt idx="2411">
                  <c:v>0.88963097938948721</c:v>
                </c:pt>
                <c:pt idx="2412">
                  <c:v>0.91522622449920688</c:v>
                </c:pt>
                <c:pt idx="2413">
                  <c:v>0.91844914514509357</c:v>
                </c:pt>
                <c:pt idx="2414">
                  <c:v>0.89979112713711884</c:v>
                </c:pt>
                <c:pt idx="2415">
                  <c:v>0.87393843570121721</c:v>
                </c:pt>
                <c:pt idx="2416">
                  <c:v>0.91467472772373348</c:v>
                </c:pt>
                <c:pt idx="2417">
                  <c:v>0.92921165004188566</c:v>
                </c:pt>
                <c:pt idx="2418">
                  <c:v>0.89541563675033164</c:v>
                </c:pt>
                <c:pt idx="2419">
                  <c:v>0.86903671461681076</c:v>
                </c:pt>
                <c:pt idx="2420">
                  <c:v>0.83554487178766657</c:v>
                </c:pt>
                <c:pt idx="2421">
                  <c:v>0.87106537735022194</c:v>
                </c:pt>
                <c:pt idx="2422">
                  <c:v>0.89589779177991224</c:v>
                </c:pt>
                <c:pt idx="2423">
                  <c:v>0.88581870639981841</c:v>
                </c:pt>
                <c:pt idx="2424">
                  <c:v>0.88701951704440973</c:v>
                </c:pt>
                <c:pt idx="2425">
                  <c:v>0.90345058421017743</c:v>
                </c:pt>
                <c:pt idx="2426">
                  <c:v>0.89649595824680328</c:v>
                </c:pt>
                <c:pt idx="2427">
                  <c:v>0.90451292949460038</c:v>
                </c:pt>
                <c:pt idx="2428">
                  <c:v>0.88205862963971016</c:v>
                </c:pt>
                <c:pt idx="2429">
                  <c:v>0.89089420737306368</c:v>
                </c:pt>
                <c:pt idx="2430">
                  <c:v>0.89684475919358619</c:v>
                </c:pt>
                <c:pt idx="2431">
                  <c:v>0.87263508346651464</c:v>
                </c:pt>
                <c:pt idx="2432">
                  <c:v>0.8837359861157621</c:v>
                </c:pt>
                <c:pt idx="2433">
                  <c:v>0.89952354579903337</c:v>
                </c:pt>
                <c:pt idx="2434">
                  <c:v>0.94520094219844175</c:v>
                </c:pt>
                <c:pt idx="2435">
                  <c:v>0.90842348918099636</c:v>
                </c:pt>
                <c:pt idx="2436">
                  <c:v>0.9019606947729053</c:v>
                </c:pt>
                <c:pt idx="2437">
                  <c:v>0.92706160023986794</c:v>
                </c:pt>
                <c:pt idx="2438">
                  <c:v>0.89862543277265661</c:v>
                </c:pt>
                <c:pt idx="2439">
                  <c:v>0.89647795119722273</c:v>
                </c:pt>
                <c:pt idx="2440">
                  <c:v>0.93446146718278733</c:v>
                </c:pt>
                <c:pt idx="2441">
                  <c:v>0.98597499853503101</c:v>
                </c:pt>
                <c:pt idx="2442">
                  <c:v>0.96942183906747004</c:v>
                </c:pt>
                <c:pt idx="2443">
                  <c:v>1.0084302920306631</c:v>
                </c:pt>
                <c:pt idx="2444">
                  <c:v>1.0026904701294552</c:v>
                </c:pt>
                <c:pt idx="2445">
                  <c:v>1.0337476166687456</c:v>
                </c:pt>
                <c:pt idx="2446">
                  <c:v>1.0348688256495124</c:v>
                </c:pt>
                <c:pt idx="2447">
                  <c:v>1.1128820240485173</c:v>
                </c:pt>
                <c:pt idx="2448">
                  <c:v>1.2255441770165181</c:v>
                </c:pt>
                <c:pt idx="2449">
                  <c:v>1.3320451534661408</c:v>
                </c:pt>
                <c:pt idx="2450">
                  <c:v>1.1259195321584683</c:v>
                </c:pt>
                <c:pt idx="2451">
                  <c:v>-4.1920271255693753E-2</c:v>
                </c:pt>
              </c:numCache>
            </c:numRef>
          </c:val>
          <c:smooth val="0"/>
          <c:extLst>
            <c:ext xmlns:c16="http://schemas.microsoft.com/office/drawing/2014/chart" uri="{C3380CC4-5D6E-409C-BE32-E72D297353CC}">
              <c16:uniqueId val="{00000008-2276-AC41-BC67-B6CD3F8F87CA}"/>
            </c:ext>
          </c:extLst>
        </c:ser>
        <c:dLbls>
          <c:showLegendKey val="0"/>
          <c:showVal val="0"/>
          <c:showCatName val="0"/>
          <c:showSerName val="0"/>
          <c:showPercent val="0"/>
          <c:showBubbleSize val="0"/>
        </c:dLbls>
        <c:marker val="1"/>
        <c:smooth val="0"/>
        <c:axId val="1153048383"/>
        <c:axId val="1153018047"/>
      </c:lineChart>
      <c:catAx>
        <c:axId val="1197697455"/>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7731775"/>
        <c:crosses val="autoZero"/>
        <c:auto val="1"/>
        <c:lblAlgn val="ctr"/>
        <c:lblOffset val="100"/>
        <c:noMultiLvlLbl val="0"/>
      </c:catAx>
      <c:valAx>
        <c:axId val="119773177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7697455"/>
        <c:crosses val="autoZero"/>
        <c:crossBetween val="between"/>
      </c:valAx>
      <c:valAx>
        <c:axId val="1153018047"/>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3048383"/>
        <c:crosses val="max"/>
        <c:crossBetween val="between"/>
      </c:valAx>
      <c:catAx>
        <c:axId val="1153048383"/>
        <c:scaling>
          <c:orientation val="minMax"/>
        </c:scaling>
        <c:delete val="1"/>
        <c:axPos val="b"/>
        <c:majorTickMark val="out"/>
        <c:minorTickMark val="none"/>
        <c:tickLblPos val="nextTo"/>
        <c:crossAx val="1153018047"/>
        <c:crosses val="autoZero"/>
        <c:auto val="1"/>
        <c:lblAlgn val="ctr"/>
        <c:lblOffset val="100"/>
        <c:noMultiLvlLbl val="0"/>
      </c:catAx>
      <c:spPr>
        <a:noFill/>
        <a:ln>
          <a:noFill/>
        </a:ln>
        <a:effectLst/>
      </c:spPr>
    </c:plotArea>
    <c:legend>
      <c:legendPos val="b"/>
      <c:layout>
        <c:manualLayout>
          <c:xMode val="edge"/>
          <c:yMode val="edge"/>
          <c:x val="0.14026436988615951"/>
          <c:y val="8.9758164188639911E-2"/>
          <c:w val="0.66200348064693337"/>
          <c:h val="0.19906130678097922"/>
        </c:manualLayout>
      </c:layout>
      <c:overlay val="0"/>
      <c:spPr>
        <a:solidFill>
          <a:srgbClr val="FFFFFF"/>
        </a:solid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Correlation</a:t>
            </a:r>
            <a:r>
              <a:rPr lang="en-US" sz="1200" b="1" baseline="0" dirty="0"/>
              <a:t> Coefficient Pump Failure - Rolling </a:t>
            </a:r>
            <a:r>
              <a:rPr lang="en-US" sz="1200" b="1" baseline="0" dirty="0" err="1"/>
              <a:t>StDev</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4488041602710289</c:v>
                </c:pt>
                <c:pt idx="1">
                  <c:v>0.62592087058373946</c:v>
                </c:pt>
                <c:pt idx="2">
                  <c:v>0.62455590762221425</c:v>
                </c:pt>
                <c:pt idx="3">
                  <c:v>0.59726041395457108</c:v>
                </c:pt>
                <c:pt idx="4">
                  <c:v>0.60005043132418734</c:v>
                </c:pt>
                <c:pt idx="5">
                  <c:v>0.69010189460739213</c:v>
                </c:pt>
                <c:pt idx="6">
                  <c:v>0.64355468682792749</c:v>
                </c:pt>
              </c:numCache>
            </c:numRef>
          </c:val>
          <c:extLst>
            <c:ext xmlns:c16="http://schemas.microsoft.com/office/drawing/2014/chart" uri="{C3380CC4-5D6E-409C-BE32-E72D297353CC}">
              <c16:uniqueId val="{00000000-F477-2643-970C-2BAEABB2F627}"/>
            </c:ext>
          </c:extLst>
        </c:ser>
        <c:dLbls>
          <c:dLblPos val="outEnd"/>
          <c:showLegendKey val="0"/>
          <c:showVal val="1"/>
          <c:showCatName val="0"/>
          <c:showSerName val="0"/>
          <c:showPercent val="0"/>
          <c:showBubbleSize val="0"/>
        </c:dLbls>
        <c:gapWidth val="219"/>
        <c:overlap val="-27"/>
        <c:axId val="1388449167"/>
        <c:axId val="1388577231"/>
      </c:barChart>
      <c:catAx>
        <c:axId val="1388449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8577231"/>
        <c:crosses val="autoZero"/>
        <c:auto val="1"/>
        <c:lblAlgn val="ctr"/>
        <c:lblOffset val="100"/>
        <c:noMultiLvlLbl val="0"/>
      </c:catAx>
      <c:valAx>
        <c:axId val="138857723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8449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Kootha Revenues </a:t>
            </a:r>
            <a:br>
              <a:rPr lang="en-US" b="1"/>
            </a:br>
            <a:r>
              <a:rPr lang="en-US" b="1"/>
              <a:t>(Jul-13 to June-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D$34</c:f>
              <c:strCache>
                <c:ptCount val="1"/>
                <c:pt idx="0">
                  <c:v>Private Water Hedge Sales</c:v>
                </c:pt>
              </c:strCache>
            </c:strRef>
          </c:tx>
          <c:spPr>
            <a:ln w="28575" cap="rnd">
              <a:solidFill>
                <a:srgbClr val="0070C0"/>
              </a:solidFill>
              <a:round/>
            </a:ln>
            <a:effectLst/>
          </c:spPr>
          <c:marker>
            <c:symbol val="circle"/>
            <c:size val="5"/>
            <c:spPr>
              <a:solidFill>
                <a:schemeClr val="accent5">
                  <a:lumMod val="60000"/>
                  <a:lumOff val="40000"/>
                </a:schemeClr>
              </a:solidFill>
              <a:ln w="9525">
                <a:solidFill>
                  <a:schemeClr val="accent3"/>
                </a:solidFill>
              </a:ln>
              <a:effectLst/>
            </c:spPr>
          </c:marker>
          <c:cat>
            <c:numRef>
              <c:f>'Revenue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4:$P$34</c:f>
              <c:numCache>
                <c:formatCode>"$"#,##0.00;[Red]\-"$"#,##0.00</c:formatCode>
                <c:ptCount val="12"/>
                <c:pt idx="0">
                  <c:v>3094536.9986999994</c:v>
                </c:pt>
                <c:pt idx="1">
                  <c:v>2980521.8105250001</c:v>
                </c:pt>
                <c:pt idx="2">
                  <c:v>2752413.7409999999</c:v>
                </c:pt>
                <c:pt idx="3">
                  <c:v>2732151.9371999996</c:v>
                </c:pt>
                <c:pt idx="4">
                  <c:v>2885028.0122999996</c:v>
                </c:pt>
                <c:pt idx="5">
                  <c:v>2815308.3782250006</c:v>
                </c:pt>
                <c:pt idx="6">
                  <c:v>4092821.3597249994</c:v>
                </c:pt>
                <c:pt idx="7">
                  <c:v>3622839.5636999998</c:v>
                </c:pt>
                <c:pt idx="8">
                  <c:v>3818238.1009499999</c:v>
                </c:pt>
                <c:pt idx="9">
                  <c:v>2789853.534825</c:v>
                </c:pt>
                <c:pt idx="10">
                  <c:v>2822646.2911499999</c:v>
                </c:pt>
                <c:pt idx="11">
                  <c:v>2712379.18035</c:v>
                </c:pt>
              </c:numCache>
            </c:numRef>
          </c:val>
          <c:smooth val="0"/>
          <c:extLst>
            <c:ext xmlns:c16="http://schemas.microsoft.com/office/drawing/2014/chart" uri="{C3380CC4-5D6E-409C-BE32-E72D297353CC}">
              <c16:uniqueId val="{00000000-076C-FE47-8C54-A3CBC2F7FF32}"/>
            </c:ext>
          </c:extLst>
        </c:ser>
        <c:ser>
          <c:idx val="1"/>
          <c:order val="1"/>
          <c:tx>
            <c:strRef>
              <c:f>'Revenue Analysis'!$D$35</c:f>
              <c:strCache>
                <c:ptCount val="1"/>
                <c:pt idx="0">
                  <c:v>Public Sales</c:v>
                </c:pt>
              </c:strCache>
            </c:strRef>
          </c:tx>
          <c:spPr>
            <a:ln w="28575" cap="rnd">
              <a:solidFill>
                <a:srgbClr val="0070C0"/>
              </a:solidFill>
              <a:prstDash val="dash"/>
              <a:round/>
            </a:ln>
            <a:effectLst/>
          </c:spPr>
          <c:marker>
            <c:symbol val="circle"/>
            <c:size val="5"/>
            <c:spPr>
              <a:solidFill>
                <a:schemeClr val="accent5">
                  <a:lumMod val="40000"/>
                  <a:lumOff val="60000"/>
                </a:schemeClr>
              </a:solidFill>
              <a:ln w="9525">
                <a:solidFill>
                  <a:schemeClr val="accent3"/>
                </a:solidFill>
              </a:ln>
              <a:effectLst/>
            </c:spPr>
          </c:marker>
          <c:cat>
            <c:numRef>
              <c:f>'Revenue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5:$P$35</c:f>
              <c:numCache>
                <c:formatCode>"$"#,##0.00;[Red]\-"$"#,##0.00</c:formatCode>
                <c:ptCount val="12"/>
                <c:pt idx="0">
                  <c:v>1523285.8376100748</c:v>
                </c:pt>
                <c:pt idx="1">
                  <c:v>1467161.8612309312</c:v>
                </c:pt>
                <c:pt idx="2">
                  <c:v>1354875.66400725</c:v>
                </c:pt>
                <c:pt idx="3">
                  <c:v>1344901.7910867</c:v>
                </c:pt>
                <c:pt idx="4">
                  <c:v>1420155.039054675</c:v>
                </c:pt>
                <c:pt idx="5">
                  <c:v>1385835.5491812564</c:v>
                </c:pt>
                <c:pt idx="6">
                  <c:v>2014691.3143246307</c:v>
                </c:pt>
                <c:pt idx="7">
                  <c:v>1783342.7752313251</c:v>
                </c:pt>
                <c:pt idx="8">
                  <c:v>1879527.7051926372</c:v>
                </c:pt>
                <c:pt idx="9">
                  <c:v>1373305.4025176065</c:v>
                </c:pt>
                <c:pt idx="10">
                  <c:v>1389447.6368185873</c:v>
                </c:pt>
                <c:pt idx="11">
                  <c:v>1335168.6515272874</c:v>
                </c:pt>
              </c:numCache>
            </c:numRef>
          </c:val>
          <c:smooth val="0"/>
          <c:extLst>
            <c:ext xmlns:c16="http://schemas.microsoft.com/office/drawing/2014/chart" uri="{C3380CC4-5D6E-409C-BE32-E72D297353CC}">
              <c16:uniqueId val="{00000001-076C-FE47-8C54-A3CBC2F7FF32}"/>
            </c:ext>
          </c:extLst>
        </c:ser>
        <c:ser>
          <c:idx val="2"/>
          <c:order val="2"/>
          <c:tx>
            <c:strRef>
              <c:f>'Revenue Analysis'!$D$36</c:f>
              <c:strCache>
                <c:ptCount val="1"/>
                <c:pt idx="0">
                  <c:v>Residential Sales</c:v>
                </c:pt>
              </c:strCache>
            </c:strRef>
          </c:tx>
          <c:spPr>
            <a:ln w="28575" cap="rnd">
              <a:solidFill>
                <a:schemeClr val="accent5">
                  <a:lumMod val="75000"/>
                </a:schemeClr>
              </a:solidFill>
              <a:prstDash val="sysDot"/>
              <a:round/>
            </a:ln>
            <a:effectLst/>
          </c:spPr>
          <c:marker>
            <c:symbol val="circle"/>
            <c:size val="5"/>
            <c:spPr>
              <a:solidFill>
                <a:schemeClr val="accent5">
                  <a:lumMod val="20000"/>
                  <a:lumOff val="80000"/>
                </a:schemeClr>
              </a:solidFill>
              <a:ln w="9525">
                <a:solidFill>
                  <a:schemeClr val="accent3"/>
                </a:solidFill>
              </a:ln>
              <a:effectLst/>
            </c:spPr>
          </c:marker>
          <c:cat>
            <c:numRef>
              <c:f>'Revenue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6:$P$36</c:f>
              <c:numCache>
                <c:formatCode>"$"#,##0.00;[Red]\-"$"#,##0.00</c:formatCode>
                <c:ptCount val="12"/>
                <c:pt idx="0">
                  <c:v>1296758.36136</c:v>
                </c:pt>
                <c:pt idx="1">
                  <c:v>1248980.56822</c:v>
                </c:pt>
                <c:pt idx="2">
                  <c:v>1153392.4247999999</c:v>
                </c:pt>
                <c:pt idx="3">
                  <c:v>1144901.76416</c:v>
                </c:pt>
                <c:pt idx="4">
                  <c:v>1208964.11944</c:v>
                </c:pt>
                <c:pt idx="5">
                  <c:v>1179748.2727800002</c:v>
                </c:pt>
                <c:pt idx="6">
                  <c:v>1715087.0459799999</c:v>
                </c:pt>
                <c:pt idx="7">
                  <c:v>1518142.2933600002</c:v>
                </c:pt>
                <c:pt idx="8">
                  <c:v>1600023.58516</c:v>
                </c:pt>
                <c:pt idx="9">
                  <c:v>1169081.4812600003</c:v>
                </c:pt>
                <c:pt idx="10">
                  <c:v>1182823.2077200001</c:v>
                </c:pt>
                <c:pt idx="11">
                  <c:v>1136616.0374800002</c:v>
                </c:pt>
              </c:numCache>
            </c:numRef>
          </c:val>
          <c:smooth val="0"/>
          <c:extLst>
            <c:ext xmlns:c16="http://schemas.microsoft.com/office/drawing/2014/chart" uri="{C3380CC4-5D6E-409C-BE32-E72D297353CC}">
              <c16:uniqueId val="{00000002-076C-FE47-8C54-A3CBC2F7FF32}"/>
            </c:ext>
          </c:extLst>
        </c:ser>
        <c:dLbls>
          <c:showLegendKey val="0"/>
          <c:showVal val="0"/>
          <c:showCatName val="0"/>
          <c:showSerName val="0"/>
          <c:showPercent val="0"/>
          <c:showBubbleSize val="0"/>
        </c:dLbls>
        <c:marker val="1"/>
        <c:smooth val="0"/>
        <c:axId val="671631344"/>
        <c:axId val="671248736"/>
      </c:lineChart>
      <c:dateAx>
        <c:axId val="67163134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1248736"/>
        <c:crosses val="autoZero"/>
        <c:auto val="1"/>
        <c:lblOffset val="100"/>
        <c:baseTimeUnit val="months"/>
      </c:dateAx>
      <c:valAx>
        <c:axId val="671248736"/>
        <c:scaling>
          <c:orientation val="minMax"/>
          <c:max val="4500000"/>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1631344"/>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19215549457385858"/>
          <c:y val="0.86905127630411572"/>
          <c:w val="0.64831557340406043"/>
          <c:h val="0.1168712753143707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 Standard Me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13C0-2E40-86A3-31B367D99F18}"/>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13C0-2E40-86A3-31B367D99F18}"/>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13C0-2E40-86A3-31B367D99F18}"/>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13C0-2E40-86A3-31B367D99F18}"/>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13C0-2E40-86A3-31B367D99F18}"/>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13C0-2E40-86A3-31B367D99F18}"/>
            </c:ext>
          </c:extLst>
        </c:ser>
        <c:dLbls>
          <c:showLegendKey val="0"/>
          <c:showVal val="0"/>
          <c:showCatName val="0"/>
          <c:showSerName val="0"/>
          <c:showPercent val="0"/>
          <c:showBubbleSize val="0"/>
        </c:dLbls>
        <c:marker val="1"/>
        <c:smooth val="0"/>
        <c:axId val="1839743391"/>
        <c:axId val="1839575279"/>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13C0-2E40-86A3-31B367D99F18}"/>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13C0-2E40-86A3-31B367D99F18}"/>
            </c:ext>
          </c:extLst>
        </c:ser>
        <c:dLbls>
          <c:showLegendKey val="0"/>
          <c:showVal val="0"/>
          <c:showCatName val="0"/>
          <c:showSerName val="0"/>
          <c:showPercent val="0"/>
          <c:showBubbleSize val="0"/>
        </c:dLbls>
        <c:marker val="1"/>
        <c:smooth val="0"/>
        <c:axId val="1389999311"/>
        <c:axId val="1427972911"/>
      </c:lineChart>
      <c:catAx>
        <c:axId val="1839743391"/>
        <c:scaling>
          <c:orientation val="minMax"/>
        </c:scaling>
        <c:delete val="0"/>
        <c:axPos val="b"/>
        <c:numFmt formatCode="m/d/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9575279"/>
        <c:crosses val="autoZero"/>
        <c:auto val="0"/>
        <c:lblAlgn val="ctr"/>
        <c:lblOffset val="100"/>
        <c:noMultiLvlLbl val="0"/>
      </c:catAx>
      <c:valAx>
        <c:axId val="183957527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9743391"/>
        <c:crosses val="autoZero"/>
        <c:crossBetween val="between"/>
      </c:valAx>
      <c:valAx>
        <c:axId val="142797291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9999311"/>
        <c:crosses val="max"/>
        <c:crossBetween val="between"/>
      </c:valAx>
      <c:dateAx>
        <c:axId val="1389999311"/>
        <c:scaling>
          <c:orientation val="minMax"/>
        </c:scaling>
        <c:delete val="1"/>
        <c:axPos val="b"/>
        <c:numFmt formatCode="m/d/yy\ h:mm" sourceLinked="1"/>
        <c:majorTickMark val="out"/>
        <c:minorTickMark val="none"/>
        <c:tickLblPos val="nextTo"/>
        <c:crossAx val="1427972911"/>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 Standard Devia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DRT Rolling Stdev'!$C$1</c:f>
              <c:strCache>
                <c:ptCount val="1"/>
                <c:pt idx="0">
                  <c:v>Volumetric Flow Meter 1</c:v>
                </c:pt>
              </c:strCache>
            </c:strRef>
          </c:tx>
          <c:spPr>
            <a:ln w="28575" cap="rnd">
              <a:solidFill>
                <a:schemeClr val="accent2"/>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723C-224F-A180-69D9D6D40BCA}"/>
            </c:ext>
          </c:extLst>
        </c:ser>
        <c:ser>
          <c:idx val="2"/>
          <c:order val="1"/>
          <c:tx>
            <c:strRef>
              <c:f>'DRT Rolling Stdev'!$D$1</c:f>
              <c:strCache>
                <c:ptCount val="1"/>
                <c:pt idx="0">
                  <c:v>Volumetric Flow Meter 2</c:v>
                </c:pt>
              </c:strCache>
            </c:strRef>
          </c:tx>
          <c:spPr>
            <a:ln w="28575" cap="rnd">
              <a:solidFill>
                <a:schemeClr val="accent3"/>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723C-224F-A180-69D9D6D40BCA}"/>
            </c:ext>
          </c:extLst>
        </c:ser>
        <c:ser>
          <c:idx val="4"/>
          <c:order val="3"/>
          <c:tx>
            <c:strRef>
              <c:f>'DRT Rolling Stdev'!$F$1</c:f>
              <c:strCache>
                <c:ptCount val="1"/>
                <c:pt idx="0">
                  <c:v>Pump Torque </c:v>
                </c:pt>
              </c:strCache>
            </c:strRef>
          </c:tx>
          <c:spPr>
            <a:ln w="28575" cap="rnd">
              <a:solidFill>
                <a:schemeClr val="accent5"/>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2-723C-224F-A180-69D9D6D40BCA}"/>
            </c:ext>
          </c:extLst>
        </c:ser>
        <c:ser>
          <c:idx val="5"/>
          <c:order val="4"/>
          <c:tx>
            <c:strRef>
              <c:f>'DRT Rolling Stdev'!$G$1</c:f>
              <c:strCache>
                <c:ptCount val="1"/>
                <c:pt idx="0">
                  <c:v>Ambient Temperature</c:v>
                </c:pt>
              </c:strCache>
            </c:strRef>
          </c:tx>
          <c:spPr>
            <a:ln w="28575" cap="rnd">
              <a:solidFill>
                <a:schemeClr val="accent6"/>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3-723C-224F-A180-69D9D6D40BCA}"/>
            </c:ext>
          </c:extLst>
        </c:ser>
        <c:ser>
          <c:idx val="7"/>
          <c:order val="6"/>
          <c:tx>
            <c:strRef>
              <c:f>'DRT Rolling Stdev'!$I$1</c:f>
              <c:strCache>
                <c:ptCount val="1"/>
                <c:pt idx="0">
                  <c:v>Pump Efficiency</c:v>
                </c:pt>
              </c:strCache>
            </c:strRef>
          </c:tx>
          <c:spPr>
            <a:ln w="28575" cap="rnd">
              <a:solidFill>
                <a:schemeClr val="accent2">
                  <a:lumMod val="60000"/>
                </a:schemeClr>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4-723C-224F-A180-69D9D6D40BCA}"/>
            </c:ext>
          </c:extLst>
        </c:ser>
        <c:dLbls>
          <c:showLegendKey val="0"/>
          <c:showVal val="0"/>
          <c:showCatName val="0"/>
          <c:showSerName val="0"/>
          <c:showPercent val="0"/>
          <c:showBubbleSize val="0"/>
        </c:dLbls>
        <c:marker val="1"/>
        <c:smooth val="0"/>
        <c:axId val="1386812383"/>
        <c:axId val="1460216335"/>
      </c:lineChart>
      <c:lineChart>
        <c:grouping val="standard"/>
        <c:varyColors val="0"/>
        <c:ser>
          <c:idx val="3"/>
          <c:order val="2"/>
          <c:tx>
            <c:strRef>
              <c:f>'DRT Rolling Stdev'!$E$1</c:f>
              <c:strCache>
                <c:ptCount val="1"/>
                <c:pt idx="0">
                  <c:v>Pump Speed (RPM)</c:v>
                </c:pt>
              </c:strCache>
            </c:strRef>
          </c:tx>
          <c:spPr>
            <a:ln w="28575" cap="rnd">
              <a:solidFill>
                <a:schemeClr val="accent4"/>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5-723C-224F-A180-69D9D6D40BCA}"/>
            </c:ext>
          </c:extLst>
        </c:ser>
        <c:ser>
          <c:idx val="6"/>
          <c:order val="5"/>
          <c:tx>
            <c:strRef>
              <c:f>'DRT Rolling Stdev'!$H$1</c:f>
              <c:strCache>
                <c:ptCount val="1"/>
                <c:pt idx="0">
                  <c:v>Horse Power</c:v>
                </c:pt>
              </c:strCache>
            </c:strRef>
          </c:tx>
          <c:spPr>
            <a:ln w="28575" cap="rnd">
              <a:solidFill>
                <a:schemeClr val="accent1">
                  <a:lumMod val="60000"/>
                </a:schemeClr>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723C-224F-A180-69D9D6D40BCA}"/>
            </c:ext>
          </c:extLst>
        </c:ser>
        <c:ser>
          <c:idx val="8"/>
          <c:order val="7"/>
          <c:tx>
            <c:strRef>
              <c:f>'DRT Rolling Stdev'!$J$1</c:f>
              <c:strCache>
                <c:ptCount val="1"/>
                <c:pt idx="0">
                  <c:v>PUMP FAILURE (1 or 0)</c:v>
                </c:pt>
              </c:strCache>
            </c:strRef>
          </c:tx>
          <c:spPr>
            <a:ln w="28575" cap="rnd">
              <a:solidFill>
                <a:schemeClr val="accent3">
                  <a:lumMod val="60000"/>
                </a:schemeClr>
              </a:solidFill>
              <a:round/>
            </a:ln>
            <a:effectLst/>
          </c:spPr>
          <c:marker>
            <c:symbol val="none"/>
          </c:marker>
          <c:cat>
            <c:strRef>
              <c:f>'DRT Rolling Stdev'!$B:$B</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10/14 16:21</c:v>
                </c:pt>
                <c:pt idx="2423">
                  <c:v>12/10/14 16:22</c:v>
                </c:pt>
                <c:pt idx="2424">
                  <c:v>12/10/14 16:23</c:v>
                </c:pt>
                <c:pt idx="2425">
                  <c:v>12/10/14 16:24</c:v>
                </c:pt>
                <c:pt idx="2426">
                  <c:v>12/10/14 16:25</c:v>
                </c:pt>
                <c:pt idx="2427">
                  <c:v>12/10/14 16:26</c:v>
                </c:pt>
                <c:pt idx="2428">
                  <c:v>12/10/14 16:27</c:v>
                </c:pt>
                <c:pt idx="2429">
                  <c:v>12/10/14 16:28</c:v>
                </c:pt>
                <c:pt idx="2430">
                  <c:v>12/10/14 16:29</c:v>
                </c:pt>
                <c:pt idx="2431">
                  <c:v>12/10/14 16:30</c:v>
                </c:pt>
                <c:pt idx="2432">
                  <c:v>12/10/14 16:31</c:v>
                </c:pt>
                <c:pt idx="2433">
                  <c:v>12/10/14 16:32</c:v>
                </c:pt>
                <c:pt idx="2434">
                  <c:v>12/10/14 16:33</c:v>
                </c:pt>
                <c:pt idx="2435">
                  <c:v>12/10/14 16:34</c:v>
                </c:pt>
                <c:pt idx="2436">
                  <c:v>12/10/14 16:35</c:v>
                </c:pt>
                <c:pt idx="2437">
                  <c:v>12/10/14 16:36</c:v>
                </c:pt>
                <c:pt idx="2438">
                  <c:v>12/10/14 16:37</c:v>
                </c:pt>
                <c:pt idx="2439">
                  <c:v>12/10/14 16:38</c:v>
                </c:pt>
                <c:pt idx="2440">
                  <c:v>12/10/14 16:39</c:v>
                </c:pt>
                <c:pt idx="2441">
                  <c:v>12/10/14 16:40</c:v>
                </c:pt>
                <c:pt idx="2442">
                  <c:v>12/10/14 16:41</c:v>
                </c:pt>
                <c:pt idx="2443">
                  <c:v>12/10/14 16:42</c:v>
                </c:pt>
                <c:pt idx="2444">
                  <c:v>12/10/14 16:43</c:v>
                </c:pt>
                <c:pt idx="2445">
                  <c:v>12/10/14 16:44</c:v>
                </c:pt>
                <c:pt idx="2446">
                  <c:v>12/10/14 16:45</c:v>
                </c:pt>
                <c:pt idx="2447">
                  <c:v>12/10/14 16:46</c:v>
                </c:pt>
                <c:pt idx="2448">
                  <c:v>12/10/14 16:47</c:v>
                </c:pt>
                <c:pt idx="2449">
                  <c:v>12/10/14 16:48</c:v>
                </c:pt>
                <c:pt idx="2450">
                  <c:v>12/10/14 16:49</c:v>
                </c:pt>
                <c:pt idx="2451">
                  <c:v>12/10/14 16:50</c:v>
                </c:pt>
                <c:pt idx="2452">
                  <c:v>12/10/14 16:51</c:v>
                </c:pt>
              </c:strCache>
            </c:strRef>
          </c:cat>
          <c:val>
            <c:numRef>
              <c:f>'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723C-224F-A180-69D9D6D40BCA}"/>
            </c:ext>
          </c:extLst>
        </c:ser>
        <c:dLbls>
          <c:showLegendKey val="0"/>
          <c:showVal val="0"/>
          <c:showCatName val="0"/>
          <c:showSerName val="0"/>
          <c:showPercent val="0"/>
          <c:showBubbleSize val="0"/>
        </c:dLbls>
        <c:marker val="1"/>
        <c:smooth val="0"/>
        <c:axId val="1383789119"/>
        <c:axId val="1384278191"/>
      </c:lineChart>
      <c:catAx>
        <c:axId val="1386812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0216335"/>
        <c:crosses val="autoZero"/>
        <c:auto val="0"/>
        <c:lblAlgn val="ctr"/>
        <c:lblOffset val="100"/>
        <c:noMultiLvlLbl val="0"/>
      </c:catAx>
      <c:valAx>
        <c:axId val="14602163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6812383"/>
        <c:crosses val="autoZero"/>
        <c:crossBetween val="between"/>
      </c:valAx>
      <c:valAx>
        <c:axId val="138427819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3789119"/>
        <c:crosses val="max"/>
        <c:crossBetween val="between"/>
      </c:valAx>
      <c:catAx>
        <c:axId val="1383789119"/>
        <c:scaling>
          <c:orientation val="minMax"/>
        </c:scaling>
        <c:delete val="1"/>
        <c:axPos val="b"/>
        <c:numFmt formatCode="General" sourceLinked="1"/>
        <c:majorTickMark val="out"/>
        <c:minorTickMark val="none"/>
        <c:tickLblPos val="nextTo"/>
        <c:crossAx val="13842781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a:t>
            </a:r>
            <a:r>
              <a:rPr lang="en-US" b="1" baseline="0"/>
              <a:t> Strength Associated with Pump Failure =1 (Rolling St. Dev)</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highlight>
                      <a:srgbClr val="FFFF00"/>
                    </a:highlight>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BF$28:$BF$3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BG$28:$BG$3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BCCA-2741-9B66-BB26C7441F96}"/>
            </c:ext>
          </c:extLst>
        </c:ser>
        <c:dLbls>
          <c:dLblPos val="outEnd"/>
          <c:showLegendKey val="0"/>
          <c:showVal val="1"/>
          <c:showCatName val="0"/>
          <c:showSerName val="0"/>
          <c:showPercent val="0"/>
          <c:showBubbleSize val="0"/>
        </c:dLbls>
        <c:gapWidth val="219"/>
        <c:overlap val="-27"/>
        <c:axId val="1153173615"/>
        <c:axId val="1153174015"/>
      </c:barChart>
      <c:catAx>
        <c:axId val="1153173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3174015"/>
        <c:crosses val="autoZero"/>
        <c:auto val="1"/>
        <c:lblAlgn val="ctr"/>
        <c:lblOffset val="100"/>
        <c:noMultiLvlLbl val="0"/>
      </c:catAx>
      <c:valAx>
        <c:axId val="11531740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a:t>
                </a:r>
                <a:r>
                  <a:rPr lang="en-US" baseline="0"/>
                  <a:t> Strength</a:t>
                </a:r>
              </a:p>
              <a:p>
                <a:pPr>
                  <a:defRPr/>
                </a:pP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31736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Strength</a:t>
            </a:r>
            <a:r>
              <a:rPr lang="en-US" b="1" baseline="0"/>
              <a:t> Associated with Pump Failure =1 (Rolling Mean)</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solidFill>
                <a:srgbClr val="FFFF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V$28:$AV$3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AW$28:$AW$34</c:f>
              <c:numCache>
                <c:formatCode>General</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9AFB-D748-9FD2-C7B01ACE2D19}"/>
            </c:ext>
          </c:extLst>
        </c:ser>
        <c:dLbls>
          <c:dLblPos val="outEnd"/>
          <c:showLegendKey val="0"/>
          <c:showVal val="1"/>
          <c:showCatName val="0"/>
          <c:showSerName val="0"/>
          <c:showPercent val="0"/>
          <c:showBubbleSize val="0"/>
        </c:dLbls>
        <c:gapWidth val="219"/>
        <c:overlap val="-27"/>
        <c:axId val="1152982543"/>
        <c:axId val="1153167695"/>
      </c:barChart>
      <c:catAx>
        <c:axId val="115298254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3167695"/>
        <c:crosses val="autoZero"/>
        <c:auto val="1"/>
        <c:lblAlgn val="ctr"/>
        <c:lblOffset val="100"/>
        <c:noMultiLvlLbl val="0"/>
      </c:catAx>
      <c:valAx>
        <c:axId val="115316769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982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Strength Associated with</a:t>
            </a:r>
            <a:r>
              <a:rPr lang="en-US" b="1" baseline="0"/>
              <a:t> Pump Failure (Raw Data)</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solidFill>
                <a:srgbClr val="FFFF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J$28:$AJ$3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AK$28:$AK$34</c:f>
              <c:numCache>
                <c:formatCode>General</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2505-C844-A810-1CAE4F88A49A}"/>
            </c:ext>
          </c:extLst>
        </c:ser>
        <c:dLbls>
          <c:dLblPos val="outEnd"/>
          <c:showLegendKey val="0"/>
          <c:showVal val="1"/>
          <c:showCatName val="0"/>
          <c:showSerName val="0"/>
          <c:showPercent val="0"/>
          <c:showBubbleSize val="0"/>
        </c:dLbls>
        <c:gapWidth val="219"/>
        <c:overlap val="-27"/>
        <c:axId val="1210544479"/>
        <c:axId val="1199433007"/>
      </c:barChart>
      <c:catAx>
        <c:axId val="121054447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9433007"/>
        <c:crosses val="autoZero"/>
        <c:auto val="1"/>
        <c:lblAlgn val="ctr"/>
        <c:lblOffset val="100"/>
        <c:noMultiLvlLbl val="0"/>
      </c:catAx>
      <c:valAx>
        <c:axId val="11994330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05444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manualLayout>
          <c:layoutTarget val="inner"/>
          <c:xMode val="edge"/>
          <c:yMode val="edge"/>
          <c:x val="7.9088093973662288E-2"/>
          <c:y val="0.18963077234829048"/>
          <c:w val="0.9104830574615479"/>
          <c:h val="0.69696826086814423"/>
        </c:manualLayout>
      </c:layout>
      <c:barChart>
        <c:barDir val="col"/>
        <c:grouping val="clustered"/>
        <c:varyColors val="0"/>
        <c:ser>
          <c:idx val="0"/>
          <c:order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Data Preparation'!$O$15:$O$21</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P$15:$P$21</c:f>
              <c:numCache>
                <c:formatCode>General</c:formatCode>
                <c:ptCount val="7"/>
                <c:pt idx="0">
                  <c:v>0.76488650391381219</c:v>
                </c:pt>
                <c:pt idx="1">
                  <c:v>0.34234999005938682</c:v>
                </c:pt>
                <c:pt idx="2">
                  <c:v>5.0960926372487107E-2</c:v>
                </c:pt>
                <c:pt idx="3">
                  <c:v>1.8223572481078983E-2</c:v>
                </c:pt>
                <c:pt idx="4">
                  <c:v>-1.7875059072203575E-2</c:v>
                </c:pt>
                <c:pt idx="5">
                  <c:v>-1.890313547339104E-2</c:v>
                </c:pt>
                <c:pt idx="6">
                  <c:v>-0.61136452850738654</c:v>
                </c:pt>
              </c:numCache>
            </c:numRef>
          </c:val>
          <c:extLst>
            <c:ext xmlns:c16="http://schemas.microsoft.com/office/drawing/2014/chart" uri="{C3380CC4-5D6E-409C-BE32-E72D297353CC}">
              <c16:uniqueId val="{00000000-2C19-0240-AF17-0154334C4E92}"/>
            </c:ext>
          </c:extLst>
        </c:ser>
        <c:dLbls>
          <c:dLblPos val="inEnd"/>
          <c:showLegendKey val="0"/>
          <c:showVal val="1"/>
          <c:showCatName val="0"/>
          <c:showSerName val="0"/>
          <c:showPercent val="0"/>
          <c:showBubbleSize val="0"/>
        </c:dLbls>
        <c:gapWidth val="41"/>
        <c:axId val="1198367823"/>
        <c:axId val="1199368975"/>
      </c:barChart>
      <c:catAx>
        <c:axId val="1198367823"/>
        <c:scaling>
          <c:orientation val="minMax"/>
        </c:scaling>
        <c:delete val="0"/>
        <c:axPos val="b"/>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en-US"/>
          </a:p>
        </c:txPr>
        <c:crossAx val="1199368975"/>
        <c:crosses val="autoZero"/>
        <c:auto val="1"/>
        <c:lblAlgn val="ctr"/>
        <c:lblOffset val="100"/>
        <c:noMultiLvlLbl val="0"/>
      </c:catAx>
      <c:valAx>
        <c:axId val="1199368975"/>
        <c:scaling>
          <c:orientation val="minMax"/>
        </c:scaling>
        <c:delete val="0"/>
        <c:axPos val="l"/>
        <c:title>
          <c:tx>
            <c:rich>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r>
                  <a:rPr lang="en-US"/>
                  <a:t>Regression Correlation Coefficient</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198367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 Revenues </a:t>
            </a:r>
          </a:p>
          <a:p>
            <a:pPr>
              <a:defRPr/>
            </a:pPr>
            <a:r>
              <a:rPr lang="en-US" b="1"/>
              <a:t>(Jul-13 to June-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D$38</c:f>
              <c:strCache>
                <c:ptCount val="1"/>
                <c:pt idx="0">
                  <c:v>Private Water Hedge Sales</c:v>
                </c:pt>
              </c:strCache>
            </c:strRef>
          </c:tx>
          <c:spPr>
            <a:ln w="28575" cap="rnd">
              <a:solidFill>
                <a:schemeClr val="accent6">
                  <a:lumMod val="75000"/>
                </a:schemeClr>
              </a:solidFill>
              <a:round/>
            </a:ln>
            <a:effectLst/>
          </c:spPr>
          <c:marker>
            <c:symbol val="circle"/>
            <c:size val="5"/>
            <c:spPr>
              <a:solidFill>
                <a:schemeClr val="accent6">
                  <a:lumMod val="60000"/>
                  <a:lumOff val="40000"/>
                </a:schemeClr>
              </a:solidFill>
              <a:ln w="9525">
                <a:solidFill>
                  <a:schemeClr val="accent3"/>
                </a:solidFill>
              </a:ln>
              <a:effectLst/>
            </c:spPr>
          </c:marker>
          <c:cat>
            <c:numRef>
              <c:f>'Revenue Analysis'!$E$37:$P$3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8:$P$38</c:f>
              <c:numCache>
                <c:formatCode>"$"#,##0.00;[Red]\-"$"#,##0.00</c:formatCode>
                <c:ptCount val="12"/>
                <c:pt idx="0">
                  <c:v>7220021.2387499996</c:v>
                </c:pt>
                <c:pt idx="1">
                  <c:v>6085131.0149999997</c:v>
                </c:pt>
                <c:pt idx="2">
                  <c:v>6723291.7162500005</c:v>
                </c:pt>
                <c:pt idx="3">
                  <c:v>6313180.5299999993</c:v>
                </c:pt>
                <c:pt idx="4">
                  <c:v>5763708.6674999995</c:v>
                </c:pt>
                <c:pt idx="5">
                  <c:v>6484566.5099999998</c:v>
                </c:pt>
                <c:pt idx="6">
                  <c:v>9314190.6750000007</c:v>
                </c:pt>
                <c:pt idx="7">
                  <c:v>6750396.1374999993</c:v>
                </c:pt>
                <c:pt idx="8">
                  <c:v>8185283.6587499995</c:v>
                </c:pt>
                <c:pt idx="9">
                  <c:v>6778514.602500001</c:v>
                </c:pt>
                <c:pt idx="10">
                  <c:v>6094707.7050000001</c:v>
                </c:pt>
                <c:pt idx="11">
                  <c:v>6735069.6974999998</c:v>
                </c:pt>
              </c:numCache>
            </c:numRef>
          </c:val>
          <c:smooth val="0"/>
          <c:extLst>
            <c:ext xmlns:c16="http://schemas.microsoft.com/office/drawing/2014/chart" uri="{C3380CC4-5D6E-409C-BE32-E72D297353CC}">
              <c16:uniqueId val="{00000000-5045-C248-98FB-0188DD57B960}"/>
            </c:ext>
          </c:extLst>
        </c:ser>
        <c:ser>
          <c:idx val="1"/>
          <c:order val="1"/>
          <c:tx>
            <c:strRef>
              <c:f>'Revenue Analysis'!$D$39</c:f>
              <c:strCache>
                <c:ptCount val="1"/>
                <c:pt idx="0">
                  <c:v>Public Sales</c:v>
                </c:pt>
              </c:strCache>
            </c:strRef>
          </c:tx>
          <c:spPr>
            <a:ln w="28575" cap="rnd">
              <a:solidFill>
                <a:schemeClr val="accent6">
                  <a:lumMod val="75000"/>
                </a:schemeClr>
              </a:solidFill>
              <a:prstDash val="dash"/>
              <a:round/>
            </a:ln>
            <a:effectLst/>
          </c:spPr>
          <c:marker>
            <c:symbol val="circle"/>
            <c:size val="5"/>
            <c:spPr>
              <a:solidFill>
                <a:schemeClr val="accent6">
                  <a:lumMod val="40000"/>
                  <a:lumOff val="60000"/>
                </a:schemeClr>
              </a:solidFill>
              <a:ln w="9525">
                <a:solidFill>
                  <a:schemeClr val="accent3"/>
                </a:solidFill>
              </a:ln>
              <a:effectLst/>
            </c:spPr>
          </c:marker>
          <c:cat>
            <c:numRef>
              <c:f>'Revenue Analysis'!$E$37:$P$3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9:$P$39</c:f>
              <c:numCache>
                <c:formatCode>"$"#,##0.00;[Red]\-"$"#,##0.00</c:formatCode>
                <c:ptCount val="12"/>
                <c:pt idx="0">
                  <c:v>5968550.8906999994</c:v>
                </c:pt>
                <c:pt idx="1">
                  <c:v>5030374.9724000003</c:v>
                </c:pt>
                <c:pt idx="2">
                  <c:v>5557921.1521000005</c:v>
                </c:pt>
                <c:pt idx="3">
                  <c:v>5218895.9047999997</c:v>
                </c:pt>
                <c:pt idx="4">
                  <c:v>4764665.8318000007</c:v>
                </c:pt>
                <c:pt idx="5">
                  <c:v>5360574.9815999996</c:v>
                </c:pt>
                <c:pt idx="6">
                  <c:v>7699730.9580000006</c:v>
                </c:pt>
                <c:pt idx="7">
                  <c:v>6985660.807</c:v>
                </c:pt>
                <c:pt idx="8">
                  <c:v>6766501.1579</c:v>
                </c:pt>
                <c:pt idx="9">
                  <c:v>6603572.0713999998</c:v>
                </c:pt>
                <c:pt idx="10">
                  <c:v>5038291.7028000001</c:v>
                </c:pt>
                <c:pt idx="11">
                  <c:v>5567657.6166000003</c:v>
                </c:pt>
              </c:numCache>
            </c:numRef>
          </c:val>
          <c:smooth val="0"/>
          <c:extLst>
            <c:ext xmlns:c16="http://schemas.microsoft.com/office/drawing/2014/chart" uri="{C3380CC4-5D6E-409C-BE32-E72D297353CC}">
              <c16:uniqueId val="{00000001-5045-C248-98FB-0188DD57B960}"/>
            </c:ext>
          </c:extLst>
        </c:ser>
        <c:ser>
          <c:idx val="2"/>
          <c:order val="2"/>
          <c:tx>
            <c:strRef>
              <c:f>'Revenue Analysis'!$D$40</c:f>
              <c:strCache>
                <c:ptCount val="1"/>
                <c:pt idx="0">
                  <c:v>Residential Sales</c:v>
                </c:pt>
              </c:strCache>
            </c:strRef>
          </c:tx>
          <c:spPr>
            <a:ln w="28575" cap="rnd">
              <a:solidFill>
                <a:schemeClr val="accent6">
                  <a:lumMod val="75000"/>
                </a:schemeClr>
              </a:solidFill>
              <a:prstDash val="sysDot"/>
              <a:round/>
            </a:ln>
            <a:effectLst/>
          </c:spPr>
          <c:marker>
            <c:symbol val="circle"/>
            <c:size val="5"/>
            <c:spPr>
              <a:solidFill>
                <a:schemeClr val="accent6">
                  <a:lumMod val="20000"/>
                  <a:lumOff val="80000"/>
                </a:schemeClr>
              </a:solidFill>
              <a:ln w="9525">
                <a:solidFill>
                  <a:schemeClr val="accent3"/>
                </a:solidFill>
              </a:ln>
              <a:effectLst/>
            </c:spPr>
          </c:marker>
          <c:cat>
            <c:numRef>
              <c:f>'Revenue Analysis'!$E$37:$P$3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0:$P$40</c:f>
              <c:numCache>
                <c:formatCode>"$"#,##0.00;[Red]\-"$"#,##0.00</c:formatCode>
                <c:ptCount val="12"/>
                <c:pt idx="0">
                  <c:v>4139478.8435499985</c:v>
                </c:pt>
                <c:pt idx="1">
                  <c:v>3488808.4485999988</c:v>
                </c:pt>
                <c:pt idx="2">
                  <c:v>3854687.2506499989</c:v>
                </c:pt>
                <c:pt idx="3">
                  <c:v>3619556.8371999986</c:v>
                </c:pt>
                <c:pt idx="4">
                  <c:v>3304526.302699999</c:v>
                </c:pt>
                <c:pt idx="5">
                  <c:v>3717818.1323999991</c:v>
                </c:pt>
                <c:pt idx="6">
                  <c:v>5340135.9869999988</c:v>
                </c:pt>
                <c:pt idx="7">
                  <c:v>4844893.7854999984</c:v>
                </c:pt>
                <c:pt idx="8">
                  <c:v>4692895.9643499991</c:v>
                </c:pt>
                <c:pt idx="9">
                  <c:v>4886348.3721000003</c:v>
                </c:pt>
                <c:pt idx="10">
                  <c:v>3494299.084199999</c:v>
                </c:pt>
                <c:pt idx="11">
                  <c:v>3861439.9598999987</c:v>
                </c:pt>
              </c:numCache>
            </c:numRef>
          </c:val>
          <c:smooth val="0"/>
          <c:extLst>
            <c:ext xmlns:c16="http://schemas.microsoft.com/office/drawing/2014/chart" uri="{C3380CC4-5D6E-409C-BE32-E72D297353CC}">
              <c16:uniqueId val="{00000002-5045-C248-98FB-0188DD57B960}"/>
            </c:ext>
          </c:extLst>
        </c:ser>
        <c:dLbls>
          <c:showLegendKey val="0"/>
          <c:showVal val="0"/>
          <c:showCatName val="0"/>
          <c:showSerName val="0"/>
          <c:showPercent val="0"/>
          <c:showBubbleSize val="0"/>
        </c:dLbls>
        <c:marker val="1"/>
        <c:smooth val="0"/>
        <c:axId val="732203504"/>
        <c:axId val="1088700944"/>
      </c:lineChart>
      <c:dateAx>
        <c:axId val="73220350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8700944"/>
        <c:crosses val="autoZero"/>
        <c:auto val="1"/>
        <c:lblOffset val="100"/>
        <c:baseTimeUnit val="months"/>
      </c:dateAx>
      <c:valAx>
        <c:axId val="10887009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203504"/>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2565635098230505"/>
          <c:y val="0.87342569837779627"/>
          <c:w val="0.60924585371868756"/>
          <c:h val="0.1027836224503608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Jutik Revenues </a:t>
            </a:r>
          </a:p>
          <a:p>
            <a:pPr>
              <a:defRPr/>
            </a:pPr>
            <a:r>
              <a:rPr lang="en-US" b="1"/>
              <a:t>(Jul-13 to June-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D$42</c:f>
              <c:strCache>
                <c:ptCount val="1"/>
                <c:pt idx="0">
                  <c:v>Private Water Hedge Sales</c:v>
                </c:pt>
              </c:strCache>
            </c:strRef>
          </c:tx>
          <c:spPr>
            <a:ln w="28575" cap="rnd">
              <a:solidFill>
                <a:schemeClr val="accent2"/>
              </a:solidFill>
              <a:round/>
            </a:ln>
            <a:effectLst/>
          </c:spPr>
          <c:marker>
            <c:symbol val="circle"/>
            <c:size val="5"/>
            <c:spPr>
              <a:solidFill>
                <a:schemeClr val="accent2">
                  <a:lumMod val="60000"/>
                  <a:lumOff val="40000"/>
                </a:schemeClr>
              </a:solidFill>
              <a:ln w="9525">
                <a:solidFill>
                  <a:schemeClr val="accent3"/>
                </a:solidFill>
              </a:ln>
              <a:effectLst/>
            </c:spPr>
          </c:marker>
          <c:cat>
            <c:numRef>
              <c:f>'Revenue Analysis'!$E$41:$P$4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2:$P$42</c:f>
              <c:numCache>
                <c:formatCode>"$"#,##0.00;[Red]\-"$"#,##0.0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numRef>
          </c:val>
          <c:smooth val="0"/>
          <c:extLst>
            <c:ext xmlns:c16="http://schemas.microsoft.com/office/drawing/2014/chart" uri="{C3380CC4-5D6E-409C-BE32-E72D297353CC}">
              <c16:uniqueId val="{00000000-12C7-2343-8D5C-C3D3573545B3}"/>
            </c:ext>
          </c:extLst>
        </c:ser>
        <c:ser>
          <c:idx val="1"/>
          <c:order val="1"/>
          <c:tx>
            <c:strRef>
              <c:f>'Revenue Analysis'!$D$43</c:f>
              <c:strCache>
                <c:ptCount val="1"/>
                <c:pt idx="0">
                  <c:v>Public Sales</c:v>
                </c:pt>
              </c:strCache>
            </c:strRef>
          </c:tx>
          <c:spPr>
            <a:ln w="28575" cap="rnd">
              <a:solidFill>
                <a:schemeClr val="accent2"/>
              </a:solidFill>
              <a:prstDash val="dash"/>
              <a:round/>
            </a:ln>
            <a:effectLst/>
          </c:spPr>
          <c:marker>
            <c:symbol val="circle"/>
            <c:size val="5"/>
            <c:spPr>
              <a:solidFill>
                <a:schemeClr val="accent2">
                  <a:lumMod val="40000"/>
                  <a:lumOff val="60000"/>
                </a:schemeClr>
              </a:solidFill>
              <a:ln w="9525">
                <a:solidFill>
                  <a:schemeClr val="accent3"/>
                </a:solidFill>
              </a:ln>
              <a:effectLst/>
            </c:spPr>
          </c:marker>
          <c:cat>
            <c:numRef>
              <c:f>'Revenue Analysis'!$E$41:$P$4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3:$P$43</c:f>
              <c:numCache>
                <c:formatCode>"$"#,##0.00;[Red]\-"$"#,##0.0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numRef>
          </c:val>
          <c:smooth val="0"/>
          <c:extLst>
            <c:ext xmlns:c16="http://schemas.microsoft.com/office/drawing/2014/chart" uri="{C3380CC4-5D6E-409C-BE32-E72D297353CC}">
              <c16:uniqueId val="{00000001-12C7-2343-8D5C-C3D3573545B3}"/>
            </c:ext>
          </c:extLst>
        </c:ser>
        <c:ser>
          <c:idx val="2"/>
          <c:order val="2"/>
          <c:tx>
            <c:strRef>
              <c:f>'Revenue Analysis'!$D$44</c:f>
              <c:strCache>
                <c:ptCount val="1"/>
                <c:pt idx="0">
                  <c:v>Residential Sales</c:v>
                </c:pt>
              </c:strCache>
            </c:strRef>
          </c:tx>
          <c:spPr>
            <a:ln w="28575" cap="rnd">
              <a:solidFill>
                <a:schemeClr val="accent2"/>
              </a:solidFill>
              <a:prstDash val="sysDot"/>
              <a:round/>
            </a:ln>
            <a:effectLst/>
          </c:spPr>
          <c:marker>
            <c:symbol val="circle"/>
            <c:size val="5"/>
            <c:spPr>
              <a:solidFill>
                <a:schemeClr val="accent2">
                  <a:lumMod val="20000"/>
                  <a:lumOff val="80000"/>
                </a:schemeClr>
              </a:solidFill>
              <a:ln w="9525">
                <a:solidFill>
                  <a:schemeClr val="accent3"/>
                </a:solidFill>
              </a:ln>
              <a:effectLst/>
            </c:spPr>
          </c:marker>
          <c:cat>
            <c:numRef>
              <c:f>'Revenue Analysis'!$E$41:$P$4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4:$P$44</c:f>
              <c:numCache>
                <c:formatCode>"$"#,##0.00;[Red]\-"$"#,##0.0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numRef>
          </c:val>
          <c:smooth val="0"/>
          <c:extLst>
            <c:ext xmlns:c16="http://schemas.microsoft.com/office/drawing/2014/chart" uri="{C3380CC4-5D6E-409C-BE32-E72D297353CC}">
              <c16:uniqueId val="{00000002-12C7-2343-8D5C-C3D3573545B3}"/>
            </c:ext>
          </c:extLst>
        </c:ser>
        <c:dLbls>
          <c:showLegendKey val="0"/>
          <c:showVal val="0"/>
          <c:showCatName val="0"/>
          <c:showSerName val="0"/>
          <c:showPercent val="0"/>
          <c:showBubbleSize val="0"/>
        </c:dLbls>
        <c:marker val="1"/>
        <c:smooth val="0"/>
        <c:axId val="732659472"/>
        <c:axId val="676119584"/>
      </c:lineChart>
      <c:dateAx>
        <c:axId val="732659472"/>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119584"/>
        <c:crosses val="autoZero"/>
        <c:auto val="1"/>
        <c:lblOffset val="100"/>
        <c:baseTimeUnit val="months"/>
      </c:dateAx>
      <c:valAx>
        <c:axId val="676119584"/>
        <c:scaling>
          <c:orientation val="minMax"/>
          <c:max val="7000000"/>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659472"/>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2461765613634566"/>
          <c:y val="0.88267923710906082"/>
          <c:w val="0.61894186015853647"/>
          <c:h val="8.861940806887690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SWC Aggregated Cost </a:t>
            </a:r>
            <a:r>
              <a:rPr lang="en-US" sz="1200" b="1" dirty="0" err="1"/>
              <a:t>Centres</a:t>
            </a:r>
            <a:r>
              <a:rPr lang="en-US" sz="1200" b="1" dirty="0"/>
              <a:t> </a:t>
            </a:r>
          </a:p>
          <a:p>
            <a:pPr>
              <a:defRPr/>
            </a:pPr>
            <a:r>
              <a:rPr lang="en-US" sz="1200" b="1" dirty="0"/>
              <a:t>(July '13-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2"/>
          <c:order val="0"/>
          <c:dPt>
            <c:idx val="0"/>
            <c:bubble3D val="0"/>
            <c:spPr>
              <a:solidFill>
                <a:srgbClr val="0070C0"/>
              </a:solidFill>
              <a:ln w="19050">
                <a:solidFill>
                  <a:schemeClr val="lt1"/>
                </a:solidFill>
              </a:ln>
              <a:effectLst/>
            </c:spPr>
            <c:extLst>
              <c:ext xmlns:c16="http://schemas.microsoft.com/office/drawing/2014/chart" uri="{C3380CC4-5D6E-409C-BE32-E72D297353CC}">
                <c16:uniqueId val="{00000001-5DA4-2240-9357-ED0D7AD65D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DA4-2240-9357-ED0D7AD65D91}"/>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5DA4-2240-9357-ED0D7AD65D91}"/>
              </c:ext>
            </c:extLst>
          </c:dPt>
          <c:dPt>
            <c:idx val="3"/>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7-5DA4-2240-9357-ED0D7AD65D91}"/>
              </c:ext>
            </c:extLst>
          </c:dPt>
          <c:dPt>
            <c:idx val="4"/>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9-5DA4-2240-9357-ED0D7AD65D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DA4-2240-9357-ED0D7AD65D91}"/>
              </c:ext>
            </c:extLst>
          </c:dPt>
          <c:dPt>
            <c:idx val="6"/>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D-5DA4-2240-9357-ED0D7AD65D91}"/>
              </c:ext>
            </c:extLst>
          </c:dPt>
          <c:dPt>
            <c:idx val="7"/>
            <c:bubble3D val="0"/>
            <c:spPr>
              <a:solidFill>
                <a:srgbClr val="C00000"/>
              </a:solidFill>
              <a:ln w="19050">
                <a:solidFill>
                  <a:schemeClr val="lt1"/>
                </a:solidFill>
              </a:ln>
              <a:effectLst/>
            </c:spPr>
            <c:extLst>
              <c:ext xmlns:c16="http://schemas.microsoft.com/office/drawing/2014/chart" uri="{C3380CC4-5D6E-409C-BE32-E72D297353CC}">
                <c16:uniqueId val="{0000000F-5DA4-2240-9357-ED0D7AD65D91}"/>
              </c:ext>
            </c:extLst>
          </c:dPt>
          <c:dLbls>
            <c:dLbl>
              <c:idx val="0"/>
              <c:layout>
                <c:manualLayout>
                  <c:x val="-0.18846275859056533"/>
                  <c:y val="0.14438386306001375"/>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ln>
                        <a:solidFill>
                          <a:schemeClr val="bg1"/>
                        </a:solidFill>
                      </a:ln>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DA4-2240-9357-ED0D7AD65D91}"/>
                </c:ext>
              </c:extLst>
            </c:dLbl>
            <c:dLbl>
              <c:idx val="1"/>
              <c:layout>
                <c:manualLayout>
                  <c:x val="-0.12263216483437453"/>
                  <c:y val="-6.086989444184891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DA4-2240-9357-ED0D7AD65D91}"/>
                </c:ext>
              </c:extLst>
            </c:dLbl>
            <c:dLbl>
              <c:idx val="2"/>
              <c:layout>
                <c:manualLayout>
                  <c:x val="-9.8824206287401239E-2"/>
                  <c:y val="-0.11897080343217464"/>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DA4-2240-9357-ED0D7AD65D91}"/>
                </c:ext>
              </c:extLst>
            </c:dLbl>
            <c:dLbl>
              <c:idx val="3"/>
              <c:layout>
                <c:manualLayout>
                  <c:x val="6.2960931740076692E-2"/>
                  <c:y val="-0.10824277676345924"/>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DA4-2240-9357-ED0D7AD65D91}"/>
                </c:ext>
              </c:extLst>
            </c:dLbl>
            <c:dLbl>
              <c:idx val="4"/>
              <c:layout>
                <c:manualLayout>
                  <c:x val="8.7644481349623576E-2"/>
                  <c:y val="-8.101680909806371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5DA4-2240-9357-ED0D7AD65D91}"/>
                </c:ext>
              </c:extLst>
            </c:dLbl>
            <c:dLbl>
              <c:idx val="5"/>
              <c:layout>
                <c:manualLayout>
                  <c:x val="0.10019439930570416"/>
                  <c:y val="-4.6863415464340814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5DA4-2240-9357-ED0D7AD65D91}"/>
                </c:ext>
              </c:extLst>
            </c:dLbl>
            <c:dLbl>
              <c:idx val="6"/>
              <c:layout>
                <c:manualLayout>
                  <c:x val="0.10495819708983442"/>
                  <c:y val="-2.418754555703363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5DA4-2240-9357-ED0D7AD65D91}"/>
                </c:ext>
              </c:extLst>
            </c:dLbl>
            <c:dLbl>
              <c:idx val="7"/>
              <c:layout>
                <c:manualLayout>
                  <c:x val="0.18830193574233756"/>
                  <c:y val="0.13492196813001769"/>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ln>
                        <a:solidFill>
                          <a:schemeClr val="bg1"/>
                        </a:solidFill>
                      </a:ln>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F-5DA4-2240-9357-ED0D7AD65D9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ln>
                      <a:solidFill>
                        <a:schemeClr val="bg1"/>
                      </a:solidFill>
                    </a:ln>
                    <a:solidFill>
                      <a:schemeClr val="bg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penses Analysis'!$T$49:$T$56</c:f>
              <c:strCache>
                <c:ptCount val="8"/>
                <c:pt idx="0">
                  <c:v>Chemical Expenses</c:v>
                </c:pt>
                <c:pt idx="1">
                  <c:v>Heating</c:v>
                </c:pt>
                <c:pt idx="2">
                  <c:v>Electricty</c:v>
                </c:pt>
                <c:pt idx="3">
                  <c:v>Plant Maintenance</c:v>
                </c:pt>
                <c:pt idx="4">
                  <c:v>Plant Outages</c:v>
                </c:pt>
                <c:pt idx="5">
                  <c:v>Plant Op. Costs</c:v>
                </c:pt>
                <c:pt idx="6">
                  <c:v>Plant Admin Costs</c:v>
                </c:pt>
                <c:pt idx="7">
                  <c:v>Labour</c:v>
                </c:pt>
              </c:strCache>
            </c:strRef>
          </c:cat>
          <c:val>
            <c:numRef>
              <c:f>'Expenses Analysis'!$U$49:$U$56</c:f>
              <c:numCache>
                <c:formatCode>"$"#,##0.00;[Red]\-"$"#,##0.00</c:formatCode>
                <c:ptCount val="8"/>
                <c:pt idx="0">
                  <c:v>141430163.55992943</c:v>
                </c:pt>
                <c:pt idx="1">
                  <c:v>69568089.836240649</c:v>
                </c:pt>
                <c:pt idx="2">
                  <c:v>65396272.416980252</c:v>
                </c:pt>
                <c:pt idx="3">
                  <c:v>56787451.26189705</c:v>
                </c:pt>
                <c:pt idx="4">
                  <c:v>28986462.624188397</c:v>
                </c:pt>
                <c:pt idx="5">
                  <c:v>36351861.9429501</c:v>
                </c:pt>
                <c:pt idx="6">
                  <c:v>18702606.026815198</c:v>
                </c:pt>
                <c:pt idx="7">
                  <c:v>151050577.81173748</c:v>
                </c:pt>
              </c:numCache>
            </c:numRef>
          </c:val>
          <c:extLst>
            <c:ext xmlns:c16="http://schemas.microsoft.com/office/drawing/2014/chart" uri="{C3380CC4-5D6E-409C-BE32-E72D297353CC}">
              <c16:uniqueId val="{00000010-5DA4-2240-9357-ED0D7AD65D91}"/>
            </c:ext>
          </c:extLst>
        </c:ser>
        <c:ser>
          <c:idx val="3"/>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12-5DA4-2240-9357-ED0D7AD65D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4-5DA4-2240-9357-ED0D7AD65D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6-5DA4-2240-9357-ED0D7AD65D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8-5DA4-2240-9357-ED0D7AD65D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A-5DA4-2240-9357-ED0D7AD65D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C-5DA4-2240-9357-ED0D7AD65D9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1E-5DA4-2240-9357-ED0D7AD65D9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20-5DA4-2240-9357-ED0D7AD65D9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penses Analysis'!$T$49:$T$56</c:f>
              <c:strCache>
                <c:ptCount val="8"/>
                <c:pt idx="0">
                  <c:v>Chemical Expenses</c:v>
                </c:pt>
                <c:pt idx="1">
                  <c:v>Heating</c:v>
                </c:pt>
                <c:pt idx="2">
                  <c:v>Electricty</c:v>
                </c:pt>
                <c:pt idx="3">
                  <c:v>Plant Maintenance</c:v>
                </c:pt>
                <c:pt idx="4">
                  <c:v>Plant Outages</c:v>
                </c:pt>
                <c:pt idx="5">
                  <c:v>Plant Op. Costs</c:v>
                </c:pt>
                <c:pt idx="6">
                  <c:v>Plant Admin Costs</c:v>
                </c:pt>
                <c:pt idx="7">
                  <c:v>Labour</c:v>
                </c:pt>
              </c:strCache>
            </c:strRef>
          </c:cat>
          <c:val>
            <c:numRef>
              <c:f>'Expenses Analysis'!$U$49:$U$56</c:f>
              <c:numCache>
                <c:formatCode>"$"#,##0.00;[Red]\-"$"#,##0.00</c:formatCode>
                <c:ptCount val="8"/>
                <c:pt idx="0">
                  <c:v>141430163.55992943</c:v>
                </c:pt>
                <c:pt idx="1">
                  <c:v>69568089.836240649</c:v>
                </c:pt>
                <c:pt idx="2">
                  <c:v>65396272.416980252</c:v>
                </c:pt>
                <c:pt idx="3">
                  <c:v>56787451.26189705</c:v>
                </c:pt>
                <c:pt idx="4">
                  <c:v>28986462.624188397</c:v>
                </c:pt>
                <c:pt idx="5">
                  <c:v>36351861.9429501</c:v>
                </c:pt>
                <c:pt idx="6">
                  <c:v>18702606.026815198</c:v>
                </c:pt>
                <c:pt idx="7">
                  <c:v>151050577.81173748</c:v>
                </c:pt>
              </c:numCache>
            </c:numRef>
          </c:val>
          <c:extLst>
            <c:ext xmlns:c16="http://schemas.microsoft.com/office/drawing/2014/chart" uri="{C3380CC4-5D6E-409C-BE32-E72D297353CC}">
              <c16:uniqueId val="{00000021-5DA4-2240-9357-ED0D7AD65D91}"/>
            </c:ext>
          </c:extLst>
        </c:ser>
        <c:ser>
          <c:idx val="1"/>
          <c:order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23-5DA4-2240-9357-ED0D7AD65D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25-5DA4-2240-9357-ED0D7AD65D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27-5DA4-2240-9357-ED0D7AD65D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29-5DA4-2240-9357-ED0D7AD65D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2B-5DA4-2240-9357-ED0D7AD65D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2D-5DA4-2240-9357-ED0D7AD65D9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2F-5DA4-2240-9357-ED0D7AD65D9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31-5DA4-2240-9357-ED0D7AD65D9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penses Analysis'!$T$49:$T$56</c:f>
              <c:strCache>
                <c:ptCount val="8"/>
                <c:pt idx="0">
                  <c:v>Chemical Expenses</c:v>
                </c:pt>
                <c:pt idx="1">
                  <c:v>Heating</c:v>
                </c:pt>
                <c:pt idx="2">
                  <c:v>Electricty</c:v>
                </c:pt>
                <c:pt idx="3">
                  <c:v>Plant Maintenance</c:v>
                </c:pt>
                <c:pt idx="4">
                  <c:v>Plant Outages</c:v>
                </c:pt>
                <c:pt idx="5">
                  <c:v>Plant Op. Costs</c:v>
                </c:pt>
                <c:pt idx="6">
                  <c:v>Plant Admin Costs</c:v>
                </c:pt>
                <c:pt idx="7">
                  <c:v>Labour</c:v>
                </c:pt>
              </c:strCache>
            </c:strRef>
          </c:cat>
          <c:val>
            <c:numRef>
              <c:f>'Expenses Analysis'!$U$49:$U$56</c:f>
              <c:numCache>
                <c:formatCode>"$"#,##0.00;[Red]\-"$"#,##0.00</c:formatCode>
                <c:ptCount val="8"/>
                <c:pt idx="0">
                  <c:v>141430163.55992943</c:v>
                </c:pt>
                <c:pt idx="1">
                  <c:v>69568089.836240649</c:v>
                </c:pt>
                <c:pt idx="2">
                  <c:v>65396272.416980252</c:v>
                </c:pt>
                <c:pt idx="3">
                  <c:v>56787451.26189705</c:v>
                </c:pt>
                <c:pt idx="4">
                  <c:v>28986462.624188397</c:v>
                </c:pt>
                <c:pt idx="5">
                  <c:v>36351861.9429501</c:v>
                </c:pt>
                <c:pt idx="6">
                  <c:v>18702606.026815198</c:v>
                </c:pt>
                <c:pt idx="7">
                  <c:v>151050577.81173748</c:v>
                </c:pt>
              </c:numCache>
            </c:numRef>
          </c:val>
          <c:extLst>
            <c:ext xmlns:c16="http://schemas.microsoft.com/office/drawing/2014/chart" uri="{C3380CC4-5D6E-409C-BE32-E72D297353CC}">
              <c16:uniqueId val="{00000032-5DA4-2240-9357-ED0D7AD65D91}"/>
            </c:ext>
          </c:extLst>
        </c:ser>
        <c:ser>
          <c:idx val="0"/>
          <c:order val="3"/>
          <c:dPt>
            <c:idx val="0"/>
            <c:bubble3D val="0"/>
            <c:spPr>
              <a:solidFill>
                <a:schemeClr val="accent1"/>
              </a:solidFill>
              <a:ln w="19050">
                <a:solidFill>
                  <a:schemeClr val="lt1"/>
                </a:solidFill>
              </a:ln>
              <a:effectLst/>
            </c:spPr>
            <c:extLst>
              <c:ext xmlns:c16="http://schemas.microsoft.com/office/drawing/2014/chart" uri="{C3380CC4-5D6E-409C-BE32-E72D297353CC}">
                <c16:uniqueId val="{00000034-5DA4-2240-9357-ED0D7AD65D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36-5DA4-2240-9357-ED0D7AD65D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38-5DA4-2240-9357-ED0D7AD65D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3A-5DA4-2240-9357-ED0D7AD65D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3C-5DA4-2240-9357-ED0D7AD65D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3E-5DA4-2240-9357-ED0D7AD65D9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40-5DA4-2240-9357-ED0D7AD65D9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42-5DA4-2240-9357-ED0D7AD65D9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penses Analysis'!$T$49:$T$56</c:f>
              <c:strCache>
                <c:ptCount val="8"/>
                <c:pt idx="0">
                  <c:v>Chemical Expenses</c:v>
                </c:pt>
                <c:pt idx="1">
                  <c:v>Heating</c:v>
                </c:pt>
                <c:pt idx="2">
                  <c:v>Electricty</c:v>
                </c:pt>
                <c:pt idx="3">
                  <c:v>Plant Maintenance</c:v>
                </c:pt>
                <c:pt idx="4">
                  <c:v>Plant Outages</c:v>
                </c:pt>
                <c:pt idx="5">
                  <c:v>Plant Op. Costs</c:v>
                </c:pt>
                <c:pt idx="6">
                  <c:v>Plant Admin Costs</c:v>
                </c:pt>
                <c:pt idx="7">
                  <c:v>Labour</c:v>
                </c:pt>
              </c:strCache>
            </c:strRef>
          </c:cat>
          <c:val>
            <c:numRef>
              <c:f>'Expenses Analysis'!$U$49:$U$56</c:f>
              <c:numCache>
                <c:formatCode>"$"#,##0.00;[Red]\-"$"#,##0.00</c:formatCode>
                <c:ptCount val="8"/>
                <c:pt idx="0">
                  <c:v>141430163.55992943</c:v>
                </c:pt>
                <c:pt idx="1">
                  <c:v>69568089.836240649</c:v>
                </c:pt>
                <c:pt idx="2">
                  <c:v>65396272.416980252</c:v>
                </c:pt>
                <c:pt idx="3">
                  <c:v>56787451.26189705</c:v>
                </c:pt>
                <c:pt idx="4">
                  <c:v>28986462.624188397</c:v>
                </c:pt>
                <c:pt idx="5">
                  <c:v>36351861.9429501</c:v>
                </c:pt>
                <c:pt idx="6">
                  <c:v>18702606.026815198</c:v>
                </c:pt>
                <c:pt idx="7">
                  <c:v>151050577.81173748</c:v>
                </c:pt>
              </c:numCache>
            </c:numRef>
          </c:val>
          <c:extLst>
            <c:ext xmlns:c16="http://schemas.microsoft.com/office/drawing/2014/chart" uri="{C3380CC4-5D6E-409C-BE32-E72D297353CC}">
              <c16:uniqueId val="{00000043-5DA4-2240-9357-ED0D7AD65D91}"/>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17081690654654727"/>
          <c:y val="0.76583985266837229"/>
          <c:w val="0.67892666424003079"/>
          <c:h val="0.183650991677174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a:t>Aggregate Costs by Unit (Jul-13</a:t>
            </a:r>
            <a:r>
              <a:rPr lang="en-US" sz="1600" b="1" baseline="0"/>
              <a:t> to June-14)</a:t>
            </a:r>
            <a:endParaRPr lang="en-US" sz="16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Expenses Analysis'!$A$153</c:f>
              <c:strCache>
                <c:ptCount val="1"/>
                <c:pt idx="0">
                  <c:v>Kootha</c:v>
                </c:pt>
              </c:strCache>
            </c:strRef>
          </c:tx>
          <c:spPr>
            <a:solidFill>
              <a:schemeClr val="accent1"/>
            </a:solidFill>
            <a:ln>
              <a:noFill/>
            </a:ln>
            <a:effectLst/>
          </c:spPr>
          <c:invertIfNegative val="0"/>
          <c:dLbls>
            <c:spPr>
              <a:solidFill>
                <a:srgbClr val="0070C0"/>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penses Analysis'!$B$152:$M$15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B$153:$M$153</c:f>
              <c:numCache>
                <c:formatCode>_([$$-409]* #,##0.00_);_([$$-409]* \(#,##0.00\);_([$$-409]* "-"??_);_(@_)</c:formatCode>
                <c:ptCount val="12"/>
                <c:pt idx="0">
                  <c:v>3458288.8701338647</c:v>
                </c:pt>
                <c:pt idx="1">
                  <c:v>4778353.3521016249</c:v>
                </c:pt>
                <c:pt idx="2">
                  <c:v>3741007.0627661142</c:v>
                </c:pt>
                <c:pt idx="3">
                  <c:v>3550828.7945508747</c:v>
                </c:pt>
                <c:pt idx="4">
                  <c:v>3646543.42684625</c:v>
                </c:pt>
                <c:pt idx="5">
                  <c:v>3507223.3581475001</c:v>
                </c:pt>
                <c:pt idx="6">
                  <c:v>5249820.3494999986</c:v>
                </c:pt>
                <c:pt idx="7">
                  <c:v>4419792.6823125007</c:v>
                </c:pt>
                <c:pt idx="8">
                  <c:v>4409725.4715</c:v>
                </c:pt>
                <c:pt idx="9">
                  <c:v>4419304.3184062503</c:v>
                </c:pt>
                <c:pt idx="10">
                  <c:v>4692799.18359375</c:v>
                </c:pt>
                <c:pt idx="11">
                  <c:v>5350137.2224687496</c:v>
                </c:pt>
              </c:numCache>
            </c:numRef>
          </c:val>
          <c:extLst>
            <c:ext xmlns:c16="http://schemas.microsoft.com/office/drawing/2014/chart" uri="{C3380CC4-5D6E-409C-BE32-E72D297353CC}">
              <c16:uniqueId val="{00000000-733F-8844-B338-055EBF90ED0B}"/>
            </c:ext>
          </c:extLst>
        </c:ser>
        <c:ser>
          <c:idx val="1"/>
          <c:order val="1"/>
          <c:tx>
            <c:strRef>
              <c:f>'Expenses Analysis'!$A$154</c:f>
              <c:strCache>
                <c:ptCount val="1"/>
                <c:pt idx="0">
                  <c:v>Surjek</c:v>
                </c:pt>
              </c:strCache>
            </c:strRef>
          </c:tx>
          <c:spPr>
            <a:solidFill>
              <a:schemeClr val="accent6"/>
            </a:solidFill>
            <a:ln>
              <a:noFill/>
            </a:ln>
            <a:effectLst/>
          </c:spPr>
          <c:invertIfNegative val="0"/>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penses Analysis'!$B$152:$M$15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B$154:$M$154</c:f>
              <c:numCache>
                <c:formatCode>_([$$-409]* #,##0.00_);_([$$-409]* \(#,##0.00\);_([$$-409]* "-"??_);_(@_)</c:formatCode>
                <c:ptCount val="12"/>
                <c:pt idx="0">
                  <c:v>11339551.170386208</c:v>
                </c:pt>
                <c:pt idx="1">
                  <c:v>13660880.3343936</c:v>
                </c:pt>
                <c:pt idx="2">
                  <c:v>13806947.680280834</c:v>
                </c:pt>
                <c:pt idx="3">
                  <c:v>18511924.382331077</c:v>
                </c:pt>
                <c:pt idx="4">
                  <c:v>20025365.089240894</c:v>
                </c:pt>
                <c:pt idx="5">
                  <c:v>12958942.643539203</c:v>
                </c:pt>
                <c:pt idx="6">
                  <c:v>13987466.323076401</c:v>
                </c:pt>
                <c:pt idx="7">
                  <c:v>16468493.156715602</c:v>
                </c:pt>
                <c:pt idx="8">
                  <c:v>15013580.580213603</c:v>
                </c:pt>
                <c:pt idx="9">
                  <c:v>16135503.054039603</c:v>
                </c:pt>
                <c:pt idx="10">
                  <c:v>18921373.302216005</c:v>
                </c:pt>
                <c:pt idx="11">
                  <c:v>8489071.3235327993</c:v>
                </c:pt>
              </c:numCache>
            </c:numRef>
          </c:val>
          <c:extLst>
            <c:ext xmlns:c16="http://schemas.microsoft.com/office/drawing/2014/chart" uri="{C3380CC4-5D6E-409C-BE32-E72D297353CC}">
              <c16:uniqueId val="{00000001-733F-8844-B338-055EBF90ED0B}"/>
            </c:ext>
          </c:extLst>
        </c:ser>
        <c:ser>
          <c:idx val="2"/>
          <c:order val="2"/>
          <c:tx>
            <c:strRef>
              <c:f>'Expenses Analysis'!$A$155</c:f>
              <c:strCache>
                <c:ptCount val="1"/>
                <c:pt idx="0">
                  <c:v>Jutik</c:v>
                </c:pt>
              </c:strCache>
            </c:strRef>
          </c:tx>
          <c:spPr>
            <a:solidFill>
              <a:schemeClr val="accent2"/>
            </a:solidFill>
            <a:ln>
              <a:noFill/>
            </a:ln>
            <a:effectLst/>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penses Analysis'!$B$152:$M$15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B$155:$M$155</c:f>
              <c:numCache>
                <c:formatCode>_([$$-409]* #,##0.00_);_([$$-409]* \(#,##0.00\);_([$$-409]* "-"??_);_(@_)</c:formatCode>
                <c:ptCount val="12"/>
                <c:pt idx="0">
                  <c:v>8168998.5802924205</c:v>
                </c:pt>
                <c:pt idx="1">
                  <c:v>6508016.2729576789</c:v>
                </c:pt>
                <c:pt idx="2">
                  <c:v>8797296.0201469176</c:v>
                </c:pt>
                <c:pt idx="3">
                  <c:v>7399801.6649996387</c:v>
                </c:pt>
                <c:pt idx="4">
                  <c:v>6292597.87327509</c:v>
                </c:pt>
                <c:pt idx="5">
                  <c:v>5862551.4695474999</c:v>
                </c:pt>
                <c:pt idx="6">
                  <c:v>7198677.8148285002</c:v>
                </c:pt>
                <c:pt idx="7">
                  <c:v>7481708.9511677492</c:v>
                </c:pt>
                <c:pt idx="8">
                  <c:v>8690888.6165351253</c:v>
                </c:pt>
                <c:pt idx="9">
                  <c:v>6732277.631081</c:v>
                </c:pt>
                <c:pt idx="10">
                  <c:v>8110761.1219654996</c:v>
                </c:pt>
                <c:pt idx="11">
                  <c:v>9479913.2630085014</c:v>
                </c:pt>
              </c:numCache>
            </c:numRef>
          </c:val>
          <c:extLst>
            <c:ext xmlns:c16="http://schemas.microsoft.com/office/drawing/2014/chart" uri="{C3380CC4-5D6E-409C-BE32-E72D297353CC}">
              <c16:uniqueId val="{00000002-733F-8844-B338-055EBF90ED0B}"/>
            </c:ext>
          </c:extLst>
        </c:ser>
        <c:dLbls>
          <c:dLblPos val="ctr"/>
          <c:showLegendKey val="0"/>
          <c:showVal val="1"/>
          <c:showCatName val="0"/>
          <c:showSerName val="0"/>
          <c:showPercent val="0"/>
          <c:showBubbleSize val="0"/>
        </c:dLbls>
        <c:gapWidth val="150"/>
        <c:overlap val="100"/>
        <c:axId val="678684592"/>
        <c:axId val="1084022720"/>
      </c:barChart>
      <c:dateAx>
        <c:axId val="678684592"/>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4022720"/>
        <c:crosses val="autoZero"/>
        <c:auto val="1"/>
        <c:lblOffset val="100"/>
        <c:baseTimeUnit val="months"/>
      </c:dateAx>
      <c:valAx>
        <c:axId val="1084022720"/>
        <c:scaling>
          <c:orientation val="minMax"/>
        </c:scaling>
        <c:delete val="0"/>
        <c:axPos val="l"/>
        <c:majorGridlines>
          <c:spPr>
            <a:ln w="9525" cap="flat" cmpd="sng" algn="ctr">
              <a:solidFill>
                <a:schemeClr val="tx1">
                  <a:lumMod val="15000"/>
                  <a:lumOff val="85000"/>
                </a:schemeClr>
              </a:solidFill>
              <a:round/>
            </a:ln>
            <a:effectLst/>
          </c:spPr>
        </c:majorGridlines>
        <c:numFmt formatCode="_([$$-409]* #,##0.00_);_([$$-409]* \(#,##0.00\);_([$$-409]*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8684592"/>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w="12700">
          <a:solidFill>
            <a:schemeClr val="accent6"/>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 Expenses (July '13-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6"/>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1D98-8F43-9312-3C3737DCAB7E}"/>
              </c:ext>
            </c:extLst>
          </c:dPt>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1D98-8F43-9312-3C3737DCAB7E}"/>
              </c:ext>
            </c:extLst>
          </c:dPt>
          <c:dPt>
            <c:idx val="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1D98-8F43-9312-3C3737DCAB7E}"/>
              </c:ext>
            </c:extLst>
          </c:dPt>
          <c:dPt>
            <c:idx val="5"/>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1D98-8F43-9312-3C3737DCAB7E}"/>
              </c:ext>
            </c:extLst>
          </c:dPt>
          <c:dPt>
            <c:idx val="6"/>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1D98-8F43-9312-3C3737DCAB7E}"/>
              </c:ext>
            </c:extLst>
          </c:dPt>
          <c:dPt>
            <c:idx val="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B-1D98-8F43-9312-3C3737DCAB7E}"/>
              </c:ext>
            </c:extLst>
          </c:dPt>
          <c:dLbls>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1D98-8F43-9312-3C3737DCAB7E}"/>
                </c:ext>
              </c:extLst>
            </c:dLbl>
            <c:dLbl>
              <c:idx val="1"/>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1D98-8F43-9312-3C3737DCAB7E}"/>
                </c:ext>
              </c:extLst>
            </c:dLbl>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O$79:$O$86</c:f>
              <c:strCache>
                <c:ptCount val="8"/>
                <c:pt idx="0">
                  <c:v>Chemical Expenses</c:v>
                </c:pt>
                <c:pt idx="1">
                  <c:v>Labour</c:v>
                </c:pt>
                <c:pt idx="2">
                  <c:v>Heating</c:v>
                </c:pt>
                <c:pt idx="3">
                  <c:v>Electricty</c:v>
                </c:pt>
                <c:pt idx="4">
                  <c:v>Plant Maintenance</c:v>
                </c:pt>
                <c:pt idx="5">
                  <c:v>Plant Op. Costs</c:v>
                </c:pt>
                <c:pt idx="6">
                  <c:v>Plant Outages</c:v>
                </c:pt>
                <c:pt idx="7">
                  <c:v>Plant Admin Costs</c:v>
                </c:pt>
              </c:strCache>
            </c:strRef>
          </c:cat>
          <c:val>
            <c:numRef>
              <c:f>'Expenses Analysis'!$P$79:$P$86</c:f>
              <c:numCache>
                <c:formatCode>_([$$-409]* #,##0.00_);_([$$-409]* \(#,##0.00\);_([$$-409]* "-"??_);_(@_)</c:formatCode>
                <c:ptCount val="8"/>
                <c:pt idx="0">
                  <c:v>46326012.775156811</c:v>
                </c:pt>
                <c:pt idx="1">
                  <c:v>42136369.189600006</c:v>
                </c:pt>
                <c:pt idx="2">
                  <c:v>23163006.387578405</c:v>
                </c:pt>
                <c:pt idx="3">
                  <c:v>19302505.322982002</c:v>
                </c:pt>
                <c:pt idx="4">
                  <c:v>18221565.024895009</c:v>
                </c:pt>
                <c:pt idx="5">
                  <c:v>12135274.3266048</c:v>
                </c:pt>
                <c:pt idx="6">
                  <c:v>11461092.4195712</c:v>
                </c:pt>
                <c:pt idx="7">
                  <c:v>6573273.5935776001</c:v>
                </c:pt>
              </c:numCache>
            </c:numRef>
          </c:val>
          <c:extLst>
            <c:ext xmlns:c16="http://schemas.microsoft.com/office/drawing/2014/chart" uri="{C3380CC4-5D6E-409C-BE32-E72D297353CC}">
              <c16:uniqueId val="{0000000E-1D98-8F43-9312-3C3737DCAB7E}"/>
            </c:ext>
          </c:extLst>
        </c:ser>
        <c:dLbls>
          <c:showLegendKey val="0"/>
          <c:showVal val="0"/>
          <c:showCatName val="0"/>
          <c:showSerName val="0"/>
          <c:showPercent val="0"/>
          <c:showBubbleSize val="0"/>
        </c:dLbls>
        <c:gapWidth val="25"/>
        <c:overlap val="-27"/>
        <c:axId val="628784192"/>
        <c:axId val="1102047008"/>
      </c:barChart>
      <c:catAx>
        <c:axId val="62878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102047008"/>
        <c:crosses val="autoZero"/>
        <c:auto val="1"/>
        <c:lblAlgn val="ctr"/>
        <c:lblOffset val="100"/>
        <c:noMultiLvlLbl val="0"/>
      </c:catAx>
      <c:valAx>
        <c:axId val="1102047008"/>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28784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Kootha Expenses (July '13-June</a:t>
            </a:r>
            <a:r>
              <a:rPr lang="en-US" b="1" baseline="0"/>
              <a:t> '14)</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0070C0"/>
            </a:solidFill>
            <a:ln>
              <a:noFill/>
            </a:ln>
            <a:effectLst/>
          </c:spPr>
          <c:invertIfNegative val="0"/>
          <c:dPt>
            <c:idx val="2"/>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1-0AB0-004B-96DE-A2469DF9502E}"/>
              </c:ext>
            </c:extLst>
          </c:dPt>
          <c:dPt>
            <c:idx val="3"/>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3-0AB0-004B-96DE-A2469DF9502E}"/>
              </c:ext>
            </c:extLst>
          </c:dPt>
          <c:dPt>
            <c:idx val="4"/>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5-0AB0-004B-96DE-A2469DF9502E}"/>
              </c:ext>
            </c:extLst>
          </c:dPt>
          <c:dPt>
            <c:idx val="5"/>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7-0AB0-004B-96DE-A2469DF9502E}"/>
              </c:ext>
            </c:extLst>
          </c:dPt>
          <c:dPt>
            <c:idx val="6"/>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9-0AB0-004B-96DE-A2469DF9502E}"/>
              </c:ext>
            </c:extLst>
          </c:dPt>
          <c:dPt>
            <c:idx val="7"/>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B-0AB0-004B-96DE-A2469DF9502E}"/>
              </c:ext>
            </c:extLst>
          </c:dPt>
          <c:dLbls>
            <c:dLbl>
              <c:idx val="0"/>
              <c:tx>
                <c:rich>
                  <a:bodyPr/>
                  <a:lstStyle/>
                  <a:p>
                    <a:fld id="{09D50236-C4F7-7E4F-B709-7C46FE7AE7A3}" type="VALUE">
                      <a:rPr lang="en-US" b="1"/>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C-0AB0-004B-96DE-A2469DF9502E}"/>
                </c:ext>
              </c:extLst>
            </c:dLbl>
            <c:dLbl>
              <c:idx val="1"/>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AB0-004B-96DE-A2469DF9502E}"/>
                </c:ext>
              </c:extLst>
            </c:dLbl>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M$79:$M$86</c:f>
              <c:strCache>
                <c:ptCount val="8"/>
                <c:pt idx="0">
                  <c:v>Labour</c:v>
                </c:pt>
                <c:pt idx="1">
                  <c:v>Chemical Expenses</c:v>
                </c:pt>
                <c:pt idx="2">
                  <c:v>Electricty</c:v>
                </c:pt>
                <c:pt idx="3">
                  <c:v>Plant Maintenance</c:v>
                </c:pt>
                <c:pt idx="4">
                  <c:v>Heating</c:v>
                </c:pt>
                <c:pt idx="5">
                  <c:v>Plant Op. Costs</c:v>
                </c:pt>
                <c:pt idx="6">
                  <c:v>Plant Outages</c:v>
                </c:pt>
                <c:pt idx="7">
                  <c:v>Plant Admin Costs</c:v>
                </c:pt>
              </c:strCache>
            </c:strRef>
          </c:cat>
          <c:val>
            <c:numRef>
              <c:f>'Expenses Analysis'!$N$79:$N$86</c:f>
              <c:numCache>
                <c:formatCode>_([$$-409]* #,##0.00_);_([$$-409]* \(#,##0.00\);_([$$-409]* "-"??_);_(@_)</c:formatCode>
                <c:ptCount val="8"/>
                <c:pt idx="0">
                  <c:v>15553428.285312492</c:v>
                </c:pt>
                <c:pt idx="1">
                  <c:v>10125517.983652497</c:v>
                </c:pt>
                <c:pt idx="2">
                  <c:v>7080781.8067499967</c:v>
                </c:pt>
                <c:pt idx="3">
                  <c:v>4863981.2092249971</c:v>
                </c:pt>
                <c:pt idx="4">
                  <c:v>4720521.2044999981</c:v>
                </c:pt>
                <c:pt idx="5">
                  <c:v>3450033.1832874976</c:v>
                </c:pt>
                <c:pt idx="6">
                  <c:v>3054127.7360249986</c:v>
                </c:pt>
                <c:pt idx="7">
                  <c:v>2375432.6835749988</c:v>
                </c:pt>
              </c:numCache>
            </c:numRef>
          </c:val>
          <c:extLst>
            <c:ext xmlns:c16="http://schemas.microsoft.com/office/drawing/2014/chart" uri="{C3380CC4-5D6E-409C-BE32-E72D297353CC}">
              <c16:uniqueId val="{0000000E-0AB0-004B-96DE-A2469DF9502E}"/>
            </c:ext>
          </c:extLst>
        </c:ser>
        <c:dLbls>
          <c:dLblPos val="outEnd"/>
          <c:showLegendKey val="0"/>
          <c:showVal val="1"/>
          <c:showCatName val="0"/>
          <c:showSerName val="0"/>
          <c:showPercent val="0"/>
          <c:showBubbleSize val="0"/>
        </c:dLbls>
        <c:gapWidth val="25"/>
        <c:overlap val="-27"/>
        <c:axId val="671894176"/>
        <c:axId val="671976064"/>
      </c:barChart>
      <c:catAx>
        <c:axId val="671894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71976064"/>
        <c:crosses val="autoZero"/>
        <c:auto val="1"/>
        <c:lblAlgn val="ctr"/>
        <c:lblOffset val="100"/>
        <c:noMultiLvlLbl val="0"/>
      </c:catAx>
      <c:valAx>
        <c:axId val="671976064"/>
        <c:scaling>
          <c:orientation val="minMax"/>
          <c:max val="20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71894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0-17T14:09:28.859" idx="1">
    <p:pos x="5634" y="117"/>
    <p:text>I wonder if I did something wrong here - I thought Kootha and Jutik were the only two units that demonstrated economies of scale...</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3E53EF-FF3B-184F-86CB-38D24B433479}" type="datetimeFigureOut">
              <a:rPr lang="en-US" smtClean="0"/>
              <a:t>8/2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D8D21B-FAAC-6B46-955E-1CFCC5D5D07C}" type="slidenum">
              <a:rPr lang="en-US" smtClean="0"/>
              <a:t>‹#›</a:t>
            </a:fld>
            <a:endParaRPr lang="en-US"/>
          </a:p>
        </p:txBody>
      </p:sp>
    </p:spTree>
    <p:extLst>
      <p:ext uri="{BB962C8B-B14F-4D97-AF65-F5344CB8AC3E}">
        <p14:creationId xmlns:p14="http://schemas.microsoft.com/office/powerpoint/2010/main" val="1889948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706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354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rst slide we want to show is our overall conclusion regarding which Quarter we should perform the Maintenance Outage in.</a:t>
            </a:r>
          </a:p>
          <a:p>
            <a:pPr lvl="0">
              <a:defRPr/>
            </a:pPr>
            <a:br>
              <a:rPr lang="en-AU" sz="1200" b="1" dirty="0"/>
            </a:br>
            <a:r>
              <a:rPr lang="en-AU" sz="1200" b="1" dirty="0"/>
              <a:t>On this slide, we would like you to show the following:</a:t>
            </a:r>
            <a:br>
              <a:rPr lang="en-AU" sz="1200" b="1" dirty="0"/>
            </a:br>
            <a:r>
              <a:rPr lang="en-AU" sz="1200" b="1" dirty="0">
                <a:highlight>
                  <a:srgbClr val="FFFF00"/>
                </a:highlight>
              </a:rPr>
              <a:t>A) Using a column-chart, please show the quarterly revenue (Q1,Q2,Q3,Q4). </a:t>
            </a:r>
          </a:p>
          <a:p>
            <a:pPr lvl="0">
              <a:defRPr/>
            </a:pPr>
            <a:endParaRPr lang="en-AU" sz="1200" b="1" dirty="0"/>
          </a:p>
          <a:p>
            <a:pPr lvl="0">
              <a:defRPr/>
            </a:pPr>
            <a:r>
              <a:rPr lang="en-AU" sz="1200" b="1" strike="sngStrike" dirty="0"/>
              <a:t>B) Using a combo-chart, create a chart which shows the 12-Monthly Water Market Demand and Average Water Balancing Price(s) using the data from the Water Data Repository Table</a:t>
            </a:r>
          </a:p>
          <a:p>
            <a:pPr lvl="0">
              <a:defRPr/>
            </a:pPr>
            <a:endParaRPr lang="en-AU" sz="1200" b="1" dirty="0"/>
          </a:p>
          <a:p>
            <a:pPr lvl="0">
              <a:defRPr/>
            </a:pPr>
            <a:r>
              <a:rPr lang="en-AU" sz="1200" b="1" dirty="0"/>
              <a:t>Remember, your chart should clearly show-case which Quarter you are recommending for the maintenance outage</a:t>
            </a:r>
            <a:r>
              <a:rPr lang="en-AU" sz="1200" b="1" dirty="0">
                <a:highlight>
                  <a:srgbClr val="FFFF00"/>
                </a:highlight>
              </a:rPr>
              <a:t>. (Feel free to highlight the Column you want the reader to focus on) </a:t>
            </a:r>
          </a:p>
          <a:p>
            <a:endParaRPr lang="en-AU" sz="1200" b="1" dirty="0"/>
          </a:p>
          <a:p>
            <a:r>
              <a:rPr lang="en-AU" sz="1200" b="1" dirty="0"/>
              <a:t>Hint: The Charts you’ve created for the What-If Tab, Q9 and Q11 may be helpful. We’ve included an example on the right for the Combo-Chart and what it </a:t>
            </a:r>
            <a:r>
              <a:rPr lang="en-AU" sz="1200" b="1" i="1" dirty="0"/>
              <a:t>may</a:t>
            </a:r>
            <a:r>
              <a:rPr lang="en-AU" sz="1200" b="1" dirty="0"/>
              <a:t> look like.</a:t>
            </a:r>
          </a:p>
          <a:p>
            <a:endParaRPr lang="en-AU" sz="12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6356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second slide we want to show is our overall conclusion regarding how cost-effective the Desalination Units are (i.e.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when compared to the Overall Water Market Balancing Price.</a:t>
            </a:r>
          </a:p>
          <a:p>
            <a:pPr lvl="0">
              <a:defRPr/>
            </a:pPr>
            <a:endParaRPr lang="en-AU" sz="1200" b="1" dirty="0"/>
          </a:p>
          <a:p>
            <a:pPr lvl="0">
              <a:defRPr/>
            </a:pPr>
            <a:r>
              <a:rPr lang="en-AU" sz="1200" b="1" dirty="0"/>
              <a:t>You may want to show a Macro View followed by a Micro View.</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Overall Cost to Produce for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compared against the Overall Desalination Cost to Produce ($/ML). This is the macro view.</a:t>
            </a:r>
          </a:p>
          <a:p>
            <a:pPr lvl="0">
              <a:defRPr/>
            </a:pPr>
            <a:endParaRPr lang="en-AU" sz="1200" b="1" dirty="0"/>
          </a:p>
          <a:p>
            <a:pPr lvl="0">
              <a:defRPr/>
            </a:pPr>
            <a:r>
              <a:rPr lang="en-AU" sz="1200" b="1" dirty="0"/>
              <a:t>B) Using a line-chart, trend the monthly Cost to Produce for:</a:t>
            </a:r>
          </a:p>
          <a:p>
            <a:pPr marL="628650" lvl="1" indent="-171450">
              <a:buFont typeface="Wingdings" panose="05000000000000000000" pitchFamily="2" charset="2"/>
              <a:buChar char="§"/>
              <a:defRPr/>
            </a:pPr>
            <a:r>
              <a:rPr lang="en-AU" sz="1200" b="1" dirty="0" err="1"/>
              <a:t>Kootha</a:t>
            </a:r>
            <a:endParaRPr lang="en-AU" sz="1200" b="1" dirty="0"/>
          </a:p>
          <a:p>
            <a:pPr marL="628650" lvl="1" indent="-171450">
              <a:buFont typeface="Wingdings" panose="05000000000000000000" pitchFamily="2" charset="2"/>
              <a:buChar char="§"/>
              <a:defRPr/>
            </a:pPr>
            <a:r>
              <a:rPr lang="en-AU" sz="1200" b="1" dirty="0" err="1"/>
              <a:t>Sujrek</a:t>
            </a:r>
            <a:endParaRPr lang="en-AU" sz="1200" b="1" dirty="0"/>
          </a:p>
          <a:p>
            <a:pPr marL="628650" lvl="1" indent="-171450">
              <a:buFont typeface="Wingdings" panose="05000000000000000000" pitchFamily="2" charset="2"/>
              <a:buChar char="§"/>
              <a:defRPr/>
            </a:pPr>
            <a:r>
              <a:rPr lang="en-AU" sz="1200" b="1" dirty="0" err="1"/>
              <a:t>Jutik</a:t>
            </a:r>
            <a:endParaRPr lang="en-AU" sz="1200" b="1" dirty="0"/>
          </a:p>
          <a:p>
            <a:pPr marL="628650" lvl="1" indent="-171450">
              <a:buFont typeface="Wingdings" panose="05000000000000000000" pitchFamily="2" charset="2"/>
              <a:buChar char="§"/>
              <a:defRPr/>
            </a:pPr>
            <a:r>
              <a:rPr lang="en-AU" sz="1200" b="1" dirty="0" err="1"/>
              <a:t>Kootha</a:t>
            </a:r>
            <a:r>
              <a:rPr lang="en-AU" sz="1200" b="1" dirty="0"/>
              <a:t> + </a:t>
            </a:r>
            <a:r>
              <a:rPr lang="en-AU" sz="1200" b="1" dirty="0" err="1"/>
              <a:t>Surjek</a:t>
            </a:r>
            <a:r>
              <a:rPr lang="en-AU" sz="1200" b="1" dirty="0"/>
              <a:t> + </a:t>
            </a:r>
            <a:r>
              <a:rPr lang="en-AU" sz="1200" b="1" dirty="0" err="1"/>
              <a:t>Jutik</a:t>
            </a:r>
            <a:endParaRPr lang="en-AU" sz="1200" b="1" dirty="0"/>
          </a:p>
          <a:p>
            <a:pPr lvl="0">
              <a:defRPr/>
            </a:pPr>
            <a:endParaRPr lang="en-AU" sz="1200" b="1" dirty="0"/>
          </a:p>
          <a:p>
            <a:r>
              <a:rPr lang="en-AU" sz="1200" b="1" dirty="0"/>
              <a:t>Hint: The Charts you’ve created for the Economic Cost Analysis Tab, Q5 and Q8 may be helpful. We’ve included an example on the right for the Column Chart and what it </a:t>
            </a:r>
            <a:r>
              <a:rPr lang="en-AU" sz="1200" b="1" i="1" dirty="0"/>
              <a:t>may</a:t>
            </a:r>
            <a:r>
              <a:rPr lang="en-AU" sz="1200" b="1" dirty="0"/>
              <a:t> look like.</a:t>
            </a:r>
          </a:p>
          <a:p>
            <a:endParaRPr lang="en-AU" sz="12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308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third slide we want to show is our overall conclusion regarding the economic relationship between price and quantities for each of the three plants. </a:t>
            </a:r>
          </a:p>
          <a:p>
            <a:pPr lvl="0">
              <a:defRPr/>
            </a:pPr>
            <a:endParaRPr lang="en-AU" sz="1200" b="1" dirty="0"/>
          </a:p>
          <a:p>
            <a:pPr lvl="0">
              <a:defRPr/>
            </a:pPr>
            <a:r>
              <a:rPr lang="en-AU" sz="1200" b="1" dirty="0"/>
              <a:t>On this slide, we would like you to show the following:</a:t>
            </a:r>
            <a:br>
              <a:rPr lang="en-AU" sz="1200" b="1" dirty="0"/>
            </a:br>
            <a:r>
              <a:rPr lang="en-AU" sz="1200" b="1" dirty="0">
                <a:highlight>
                  <a:srgbClr val="FFFF00"/>
                </a:highlight>
              </a:rPr>
              <a:t>A) Create three chart(s), which show the Cost to Produce vs. the Quantity of Water Produced for each Desalination Plant</a:t>
            </a:r>
          </a:p>
          <a:p>
            <a:pPr lvl="0">
              <a:defRPr/>
            </a:pPr>
            <a:endParaRPr lang="en-AU" sz="1200" b="1" dirty="0"/>
          </a:p>
          <a:p>
            <a:pPr lvl="0">
              <a:defRPr/>
            </a:pPr>
            <a:r>
              <a:rPr lang="en-AU" sz="1200" b="1" dirty="0"/>
              <a:t>Remember, we are </a:t>
            </a:r>
            <a:r>
              <a:rPr lang="en-AU" sz="1200" b="1" i="1" dirty="0"/>
              <a:t>comparing </a:t>
            </a:r>
            <a:r>
              <a:rPr lang="en-AU" sz="1200" b="1" dirty="0"/>
              <a:t>each point using a scatter-plot graphic.</a:t>
            </a:r>
          </a:p>
          <a:p>
            <a:pPr lvl="0">
              <a:defRPr/>
            </a:pPr>
            <a:endParaRPr lang="en-AU" sz="1200" b="1" dirty="0"/>
          </a:p>
          <a:p>
            <a:r>
              <a:rPr lang="en-AU" sz="1200" b="1" dirty="0"/>
              <a:t>Hint: The Chart you’ve created for the Economic Cost Analysis, Q6, may be helpfu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624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ourth slide we want to show is our overall conclusion regarding the economic principles of elasticity for our individual water products at a macro-level.</a:t>
            </a:r>
          </a:p>
          <a:p>
            <a:pPr lvl="0">
              <a:defRPr/>
            </a:pPr>
            <a:endParaRPr lang="en-AU" sz="1200" b="1" dirty="0"/>
          </a:p>
          <a:p>
            <a:pPr lvl="0">
              <a:defRPr/>
            </a:pPr>
            <a:r>
              <a:rPr lang="en-AU" sz="1200" b="1" dirty="0"/>
              <a:t>On this slide, we would like you to show the following:</a:t>
            </a:r>
          </a:p>
          <a:p>
            <a:pPr lvl="0">
              <a:defRPr/>
            </a:pPr>
            <a:br>
              <a:rPr lang="en-AU" sz="1200" b="1" dirty="0">
                <a:highlight>
                  <a:srgbClr val="FFFF00"/>
                </a:highlight>
              </a:rPr>
            </a:br>
            <a:r>
              <a:rPr lang="en-AU" sz="1200" b="1" dirty="0">
                <a:highlight>
                  <a:srgbClr val="FFFF00"/>
                </a:highlight>
              </a:rPr>
              <a:t>A) Create three chart(s), which show the Weighted Balancing Market Price  vs. the Volume of Water Demanded (I.e. Soft Water, Hard Water, Soft + Hard Water)</a:t>
            </a:r>
          </a:p>
          <a:p>
            <a:pPr lvl="0">
              <a:defRPr/>
            </a:pPr>
            <a:endParaRPr lang="en-AU" sz="1200" b="1" dirty="0"/>
          </a:p>
          <a:p>
            <a:r>
              <a:rPr lang="en-AU" sz="1200" b="1" dirty="0"/>
              <a:t>Hint: The Chart you’ve created for the Economic Market Analysis, Q2, may be helpfu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7782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fth and final slide we want to show is our overall conclusion regarding the economic principles of elasticity for our individual water products at a </a:t>
            </a:r>
            <a:r>
              <a:rPr lang="en-AU" sz="1200" b="1" u="sng" dirty="0"/>
              <a:t>micro level. </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three chart(s), which show the Weighted Balancing Market Price vs. the Volume of Water Demanded (I.e. Soft Water, Hard Water, Soft + Hard Water)</a:t>
            </a:r>
          </a:p>
          <a:p>
            <a:pPr lvl="0">
              <a:defRPr/>
            </a:pPr>
            <a:endParaRPr lang="en-AU" sz="1200" b="1" dirty="0"/>
          </a:p>
          <a:p>
            <a:r>
              <a:rPr lang="en-AU" sz="1200" b="1" dirty="0"/>
              <a:t>Hint: The Chart you’ve created for the Economic Market Analysis, Q3, may be helpfu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352E8-A3D8-466D-9C64-BEFAB9E6BDD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4512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307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61" y="1621"/>
                        <a:ext cx="2159" cy="1619"/>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5483991" y="134842"/>
            <a:ext cx="90088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5483990" y="445720"/>
            <a:ext cx="2207336"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noProof="0">
                <a:solidFill>
                  <a:schemeClr val="tx1"/>
                </a:solidFill>
                <a:latin typeface="+mn-lt"/>
                <a:ea typeface="Arial Unicode MS" pitchFamily="34" charset="-128"/>
                <a:cs typeface="Arial Unicode MS" pitchFamily="34" charset="-128"/>
              </a:rPr>
              <a:t>Printed 2/27/2017 7:03 AM India Standard Time</a:t>
            </a:r>
            <a:endParaRPr lang="en-US" sz="816"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5483991" y="283414"/>
            <a:ext cx="289342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16"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16"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5483990" y="5413361"/>
            <a:ext cx="648917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5483991" y="663707"/>
            <a:ext cx="6489172" cy="502445"/>
          </a:xfrm>
          <a:prstGeom prst="rect">
            <a:avLst/>
          </a:prstGeom>
        </p:spPr>
        <p:txBody>
          <a:bodyPr wrap="square">
            <a:spAutoFit/>
          </a:bodyPr>
          <a:lstStyle>
            <a:lvl1pPr>
              <a:defRPr sz="3265"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5483990" y="1925808"/>
            <a:ext cx="6489174" cy="219820"/>
          </a:xfrm>
        </p:spPr>
        <p:txBody>
          <a:bodyPr wrap="square">
            <a:spAutoFit/>
          </a:bodyPr>
          <a:lstStyle>
            <a:lvl1pPr>
              <a:defRPr sz="1428"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4320" y="6360444"/>
            <a:ext cx="12187680" cy="4975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err="1">
              <a:solidFill>
                <a:schemeClr val="tx1"/>
              </a:solidFill>
            </a:endParaRPr>
          </a:p>
        </p:txBody>
      </p:sp>
      <p:sp>
        <p:nvSpPr>
          <p:cNvPr id="12" name="Rectangle 11"/>
          <p:cNvSpPr/>
          <p:nvPr userDrawn="1"/>
        </p:nvSpPr>
        <p:spPr bwMode="ltGray">
          <a:xfrm>
            <a:off x="0" y="6313249"/>
            <a:ext cx="12192000" cy="4664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err="1">
              <a:solidFill>
                <a:schemeClr val="tx1"/>
              </a:solidFill>
            </a:endParaRPr>
          </a:p>
        </p:txBody>
      </p:sp>
    </p:spTree>
    <p:extLst>
      <p:ext uri="{BB962C8B-B14F-4D97-AF65-F5344CB8AC3E}">
        <p14:creationId xmlns:p14="http://schemas.microsoft.com/office/powerpoint/2010/main" val="3305521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1568951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05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11007731" y="1980016"/>
            <a:ext cx="217848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12" baseline="0" noProof="0">
                <a:solidFill>
                  <a:schemeClr val="accent6"/>
                </a:solidFill>
                <a:latin typeface="+mn-lt"/>
                <a:ea typeface="+mn-ea"/>
              </a:rPr>
              <a:t>Last Modified 10/03/2017 4:54 PM W. Australia Standard Time</a:t>
            </a:r>
            <a:endParaRPr lang="en-US" sz="1632"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11265012" y="4197996"/>
            <a:ext cx="166391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noProof="0">
                <a:solidFill>
                  <a:schemeClr val="accent6"/>
                </a:solidFill>
                <a:latin typeface="+mn-lt"/>
                <a:ea typeface="+mn-ea"/>
              </a:rPr>
              <a:t>Printed 2/27/2017 7:03 AM India Standard Time</a:t>
            </a:r>
            <a:endParaRPr lang="en-US" sz="1632"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3169489" y="2364856"/>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59" y="188906"/>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33257" y="35760"/>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233258" y="530469"/>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rgbClr val="808080"/>
                </a:solidFill>
                <a:latin typeface="+mn-lt"/>
              </a:rPr>
              <a:t>Unit of measure</a:t>
            </a:r>
          </a:p>
        </p:txBody>
      </p:sp>
      <p:grpSp>
        <p:nvGrpSpPr>
          <p:cNvPr id="15" name="ACET" hidden="1"/>
          <p:cNvGrpSpPr>
            <a:grpSpLocks/>
          </p:cNvGrpSpPr>
          <p:nvPr/>
        </p:nvGrpSpPr>
        <p:grpSpPr bwMode="auto">
          <a:xfrm>
            <a:off x="3169489" y="1705620"/>
            <a:ext cx="5853024" cy="596066"/>
            <a:chOff x="915" y="662"/>
            <a:chExt cx="2686" cy="3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noProof="0" dirty="0">
                  <a:latin typeface="+mn-lt"/>
                  <a:ea typeface="+mn-ea"/>
                </a:rPr>
                <a:t>Title</a:t>
              </a:r>
            </a:p>
            <a:p>
              <a:r>
                <a:rPr lang="en-US" sz="1837"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10919880" y="242584"/>
            <a:ext cx="863915" cy="1017202"/>
            <a:chOff x="4936" y="176"/>
            <a:chExt cx="400" cy="628"/>
          </a:xfrm>
        </p:grpSpPr>
        <p:sp>
          <p:nvSpPr>
            <p:cNvPr id="20" name="Legend1"/>
            <p:cNvSpPr>
              <a:spLocks noChangeArrowheads="1"/>
            </p:cNvSpPr>
            <p:nvPr/>
          </p:nvSpPr>
          <p:spPr bwMode="auto">
            <a:xfrm>
              <a:off x="5096"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22" name="Legend2"/>
            <p:cNvSpPr>
              <a:spLocks noChangeArrowheads="1"/>
            </p:cNvSpPr>
            <p:nvPr/>
          </p:nvSpPr>
          <p:spPr bwMode="auto">
            <a:xfrm>
              <a:off x="5096" y="34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24" name="Legend3"/>
            <p:cNvSpPr>
              <a:spLocks noChangeArrowheads="1"/>
            </p:cNvSpPr>
            <p:nvPr/>
          </p:nvSpPr>
          <p:spPr bwMode="auto">
            <a:xfrm>
              <a:off x="5096" y="517"/>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26" name="Legend4"/>
            <p:cNvSpPr>
              <a:spLocks noChangeArrowheads="1"/>
            </p:cNvSpPr>
            <p:nvPr/>
          </p:nvSpPr>
          <p:spPr bwMode="auto">
            <a:xfrm>
              <a:off x="5096" y="688"/>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28" name="LegendLines" hidden="1"/>
          <p:cNvGrpSpPr>
            <a:grpSpLocks/>
          </p:cNvGrpSpPr>
          <p:nvPr/>
        </p:nvGrpSpPr>
        <p:grpSpPr bwMode="auto">
          <a:xfrm>
            <a:off x="10500883" y="242584"/>
            <a:ext cx="1282914" cy="745084"/>
            <a:chOff x="4750" y="176"/>
            <a:chExt cx="594"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32" name="Legend1"/>
            <p:cNvSpPr>
              <a:spLocks noChangeArrowheads="1"/>
            </p:cNvSpPr>
            <p:nvPr/>
          </p:nvSpPr>
          <p:spPr bwMode="auto">
            <a:xfrm>
              <a:off x="5104"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33" name="Legend2"/>
            <p:cNvSpPr>
              <a:spLocks noChangeArrowheads="1"/>
            </p:cNvSpPr>
            <p:nvPr/>
          </p:nvSpPr>
          <p:spPr bwMode="auto">
            <a:xfrm>
              <a:off x="5104" y="344"/>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34" name="Legend3"/>
            <p:cNvSpPr>
              <a:spLocks noChangeArrowheads="1"/>
            </p:cNvSpPr>
            <p:nvPr/>
          </p:nvSpPr>
          <p:spPr bwMode="auto">
            <a:xfrm>
              <a:off x="5104" y="520"/>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35" name="McK Sticker" hidden="1"/>
          <p:cNvGrpSpPr/>
          <p:nvPr/>
        </p:nvGrpSpPr>
        <p:grpSpPr bwMode="auto">
          <a:xfrm>
            <a:off x="11220915" y="242585"/>
            <a:ext cx="737831" cy="153247"/>
            <a:chOff x="8198450" y="285750"/>
            <a:chExt cx="542325" cy="150196"/>
          </a:xfrm>
        </p:grpSpPr>
        <p:sp>
          <p:nvSpPr>
            <p:cNvPr id="36" name="StickerRectangle"/>
            <p:cNvSpPr>
              <a:spLocks noChangeArrowheads="1"/>
            </p:cNvSpPr>
            <p:nvPr/>
          </p:nvSpPr>
          <p:spPr bwMode="auto">
            <a:xfrm>
              <a:off x="8198450" y="285750"/>
              <a:ext cx="542325"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198450" y="285750"/>
              <a:ext cx="0" cy="15019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198450" y="435946"/>
              <a:ext cx="54232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11830503" y="6593883"/>
            <a:ext cx="128240" cy="125547"/>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16" smtClean="0">
                <a:solidFill>
                  <a:schemeClr val="tx1"/>
                </a:solidFill>
              </a:rPr>
              <a:pPr lvl="0" algn="r"/>
              <a:t>‹#›</a:t>
            </a:fld>
            <a:endParaRPr lang="en-US" sz="816" dirty="0">
              <a:solidFill>
                <a:schemeClr val="tx1"/>
              </a:solidFill>
            </a:endParaRPr>
          </a:p>
        </p:txBody>
      </p:sp>
      <p:grpSp>
        <p:nvGrpSpPr>
          <p:cNvPr id="64" name="Moon" hidden="1"/>
          <p:cNvGrpSpPr>
            <a:grpSpLocks noChangeAspect="1"/>
          </p:cNvGrpSpPr>
          <p:nvPr>
            <p:custDataLst>
              <p:tags r:id="rId6"/>
            </p:custDataLst>
          </p:nvPr>
        </p:nvGrpSpPr>
        <p:grpSpPr bwMode="auto">
          <a:xfrm>
            <a:off x="9755583" y="779532"/>
            <a:ext cx="345566" cy="259159"/>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a:p>
          </p:txBody>
        </p:sp>
      </p:grpSp>
      <p:grpSp>
        <p:nvGrpSpPr>
          <p:cNvPr id="67" name="LegendMoons" hidden="1"/>
          <p:cNvGrpSpPr/>
          <p:nvPr/>
        </p:nvGrpSpPr>
        <p:grpSpPr bwMode="auto">
          <a:xfrm>
            <a:off x="10828950" y="242584"/>
            <a:ext cx="955651" cy="1333054"/>
            <a:chOff x="5428012" y="273840"/>
            <a:chExt cx="702428" cy="1306516"/>
          </a:xfrm>
        </p:grpSpPr>
        <p:sp>
          <p:nvSpPr>
            <p:cNvPr id="68" name="Legend1"/>
            <p:cNvSpPr>
              <a:spLocks noChangeArrowheads="1"/>
            </p:cNvSpPr>
            <p:nvPr/>
          </p:nvSpPr>
          <p:spPr bwMode="auto">
            <a:xfrm>
              <a:off x="5748687" y="28654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69" name="Legend2"/>
            <p:cNvSpPr>
              <a:spLocks noChangeArrowheads="1"/>
            </p:cNvSpPr>
            <p:nvPr/>
          </p:nvSpPr>
          <p:spPr bwMode="auto">
            <a:xfrm>
              <a:off x="5748687" y="56117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0" name="Legend3"/>
            <p:cNvSpPr>
              <a:spLocks noChangeArrowheads="1"/>
            </p:cNvSpPr>
            <p:nvPr/>
          </p:nvSpPr>
          <p:spPr bwMode="auto">
            <a:xfrm>
              <a:off x="5748687" y="835817"/>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71" name="Legend4"/>
            <p:cNvSpPr>
              <a:spLocks noChangeArrowheads="1"/>
            </p:cNvSpPr>
            <p:nvPr/>
          </p:nvSpPr>
          <p:spPr bwMode="auto">
            <a:xfrm>
              <a:off x="5748687" y="110728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72" name="Legend5"/>
            <p:cNvSpPr>
              <a:spLocks noChangeArrowheads="1"/>
            </p:cNvSpPr>
            <p:nvPr/>
          </p:nvSpPr>
          <p:spPr bwMode="auto">
            <a:xfrm>
              <a:off x="5748687" y="138350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grpSp>
        <p:nvGrpSpPr>
          <p:cNvPr id="3" name="Slide Elements" hidden="1"/>
          <p:cNvGrpSpPr/>
          <p:nvPr/>
        </p:nvGrpSpPr>
        <p:grpSpPr bwMode="auto">
          <a:xfrm>
            <a:off x="233258" y="6401174"/>
            <a:ext cx="9900464" cy="318256"/>
            <a:chOff x="171451" y="6319463"/>
            <a:chExt cx="7200000" cy="311920"/>
          </a:xfrm>
        </p:grpSpPr>
        <p:sp>
          <p:nvSpPr>
            <p:cNvPr id="89" name="4. Footnote"/>
            <p:cNvSpPr txBox="1">
              <a:spLocks noChangeArrowheads="1"/>
            </p:cNvSpPr>
            <p:nvPr/>
          </p:nvSpPr>
          <p:spPr bwMode="auto">
            <a:xfrm>
              <a:off x="171451" y="6319463"/>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7465" indent="-87465">
                <a:defRPr lang="x-none"/>
              </a:pPr>
              <a:r>
                <a:rPr lang="x-none" sz="816" baseline="0" dirty="0">
                  <a:solidFill>
                    <a:schemeClr val="tx1"/>
                  </a:solidFill>
                  <a:latin typeface="+mn-lt"/>
                  <a:ea typeface="+mn-ea"/>
                </a:rPr>
                <a:t>1 Footnote</a:t>
              </a:r>
            </a:p>
          </p:txBody>
        </p:sp>
        <p:sp>
          <p:nvSpPr>
            <p:cNvPr id="90" name="5. Source"/>
            <p:cNvSpPr>
              <a:spLocks noChangeArrowheads="1"/>
            </p:cNvSpPr>
            <p:nvPr/>
          </p:nvSpPr>
          <p:spPr bwMode="auto">
            <a:xfrm>
              <a:off x="171451"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17889" indent="-417889" defTabSz="913526">
                <a:tabLst>
                  <a:tab pos="417889" algn="l"/>
                </a:tabLst>
              </a:pPr>
              <a:r>
                <a:rPr lang="x-none" sz="816" baseline="0" dirty="0">
                  <a:solidFill>
                    <a:schemeClr val="tx1"/>
                  </a:solidFill>
                  <a:latin typeface="+mn-lt"/>
                  <a:ea typeface="+mn-ea"/>
                </a:rPr>
                <a:t>Source : Source</a:t>
              </a:r>
            </a:p>
          </p:txBody>
        </p:sp>
      </p:grpSp>
      <p:sp>
        <p:nvSpPr>
          <p:cNvPr id="62" name="Rectangle 61"/>
          <p:cNvSpPr/>
          <p:nvPr/>
        </p:nvSpPr>
        <p:spPr bwMode="auto">
          <a:xfrm>
            <a:off x="0" y="6810364"/>
            <a:ext cx="12192000" cy="4664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err="1">
              <a:solidFill>
                <a:schemeClr val="tx1"/>
              </a:solidFill>
            </a:endParaRPr>
          </a:p>
        </p:txBody>
      </p:sp>
    </p:spTree>
    <p:extLst>
      <p:ext uri="{BB962C8B-B14F-4D97-AF65-F5344CB8AC3E}">
        <p14:creationId xmlns:p14="http://schemas.microsoft.com/office/powerpoint/2010/main" val="324021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913526" rtl="0" eaLnBrk="1" fontAlgn="base" hangingPunct="1">
        <a:spcBef>
          <a:spcPct val="0"/>
        </a:spcBef>
        <a:spcAft>
          <a:spcPct val="0"/>
        </a:spcAft>
        <a:tabLst>
          <a:tab pos="275353" algn="l"/>
        </a:tabLst>
        <a:defRPr sz="2041" b="0" baseline="0">
          <a:solidFill>
            <a:schemeClr val="accent3"/>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20.xml"/><Relationship Id="rId4" Type="http://schemas.openxmlformats.org/officeDocument/2006/relationships/chart" Target="../charts/chart19.xml"/></Relationships>
</file>

<file path=ppt/slides/_rels/slide1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comments" Target="../comments/comment1.xml"/><Relationship Id="rId5" Type="http://schemas.openxmlformats.org/officeDocument/2006/relationships/chart" Target="../charts/chart23.xml"/><Relationship Id="rId4" Type="http://schemas.openxmlformats.org/officeDocument/2006/relationships/chart" Target="../charts/chart22.xml"/></Relationships>
</file>

<file path=ppt/slides/_rels/slide1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chart" Target="../charts/chart26.xml"/><Relationship Id="rId4" Type="http://schemas.openxmlformats.org/officeDocument/2006/relationships/chart" Target="../charts/chart25.xml"/></Relationships>
</file>

<file path=ppt/slides/_rels/slide1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emf"/><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2.xml"/><Relationship Id="rId5" Type="http://schemas.openxmlformats.org/officeDocument/2006/relationships/image" Target="../media/image8.emf"/><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2.xml"/><Relationship Id="rId4" Type="http://schemas.openxmlformats.org/officeDocument/2006/relationships/chart" Target="../charts/chart34.xml"/></Relationships>
</file>

<file path=ppt/slides/_rels/slide19.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C69FC-691E-A545-BBAA-D9297FE7DD74}"/>
              </a:ext>
            </a:extLst>
          </p:cNvPr>
          <p:cNvSpPr>
            <a:spLocks noGrp="1"/>
          </p:cNvSpPr>
          <p:nvPr>
            <p:ph type="ctrTitle"/>
          </p:nvPr>
        </p:nvSpPr>
        <p:spPr>
          <a:xfrm>
            <a:off x="835790" y="938027"/>
            <a:ext cx="9268329" cy="553998"/>
          </a:xfrm>
        </p:spPr>
        <p:txBody>
          <a:bodyPr/>
          <a:lstStyle/>
          <a:p>
            <a:r>
              <a:rPr lang="en-US" sz="3600" b="1" dirty="0"/>
              <a:t>Part I: Financial Analysis</a:t>
            </a:r>
            <a:endParaRPr lang="en-US" dirty="0"/>
          </a:p>
        </p:txBody>
      </p:sp>
      <p:sp>
        <p:nvSpPr>
          <p:cNvPr id="3" name="Subtitle 2">
            <a:extLst>
              <a:ext uri="{FF2B5EF4-FFF2-40B4-BE49-F238E27FC236}">
                <a16:creationId xmlns:a16="http://schemas.microsoft.com/office/drawing/2014/main" id="{3C64A773-79D5-5245-86EC-901C75E9AC18}"/>
              </a:ext>
            </a:extLst>
          </p:cNvPr>
          <p:cNvSpPr>
            <a:spLocks noGrp="1"/>
          </p:cNvSpPr>
          <p:nvPr>
            <p:ph type="subTitle" idx="1"/>
          </p:nvPr>
        </p:nvSpPr>
        <p:spPr>
          <a:xfrm>
            <a:off x="835791" y="2123928"/>
            <a:ext cx="6489174" cy="3447098"/>
          </a:xfrm>
        </p:spPr>
        <p:txBody>
          <a:bodyPr/>
          <a:lstStyle/>
          <a:p>
            <a:r>
              <a:rPr lang="en-US" sz="2800" b="1" dirty="0"/>
              <a:t>OBJECTIVES:</a:t>
            </a:r>
          </a:p>
          <a:p>
            <a:pPr marL="342900" indent="-342900">
              <a:buFont typeface="Arial" panose="020B0604020202020204" pitchFamily="34" charset="0"/>
              <a:buChar char="•"/>
            </a:pPr>
            <a:r>
              <a:rPr lang="en-US" sz="2800" dirty="0"/>
              <a:t>Conduct macro- to micro- level analysis of revenues, expenses, EBIT margins</a:t>
            </a:r>
          </a:p>
          <a:p>
            <a:pPr marL="342900" indent="-342900">
              <a:buFont typeface="Arial" panose="020B0604020202020204" pitchFamily="34" charset="0"/>
              <a:buChar char="•"/>
            </a:pPr>
            <a:r>
              <a:rPr lang="en-US" sz="2800" dirty="0"/>
              <a:t>Identify desalination site that has unsustainably low cost-to-revenue ratios to recommend for divestment</a:t>
            </a:r>
          </a:p>
          <a:p>
            <a:endParaRPr lang="en-US" sz="2800" dirty="0"/>
          </a:p>
        </p:txBody>
      </p:sp>
    </p:spTree>
    <p:extLst>
      <p:ext uri="{BB962C8B-B14F-4D97-AF65-F5344CB8AC3E}">
        <p14:creationId xmlns:p14="http://schemas.microsoft.com/office/powerpoint/2010/main" val="3539562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576634"/>
          </a:xfrm>
        </p:spPr>
        <p:txBody>
          <a:bodyPr/>
          <a:lstStyle/>
          <a:p>
            <a:r>
              <a:rPr lang="en-GB" sz="1224" b="1" dirty="0"/>
              <a:t>Of the three Desalination Plants, all three remain profitable at current market prices by a favourable margin; Clearly _____ is the most cost-effective $___/ML) followed by ____ ($___/ML) and lastly _____ ($____/ML) which is consistent across the July-2013 to June-2014 period. </a:t>
            </a:r>
            <a:endParaRPr lang="en-AU" sz="1224"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699204" y="912871"/>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9374B13C-CC83-4511-A430-D203A541664D}"/>
              </a:ext>
            </a:extLst>
          </p:cNvPr>
          <p:cNvGraphicFramePr>
            <a:graphicFrameLocks/>
          </p:cNvGraphicFramePr>
          <p:nvPr>
            <p:extLst/>
          </p:nvPr>
        </p:nvGraphicFramePr>
        <p:xfrm>
          <a:off x="6096000" y="6945609"/>
          <a:ext cx="4305281" cy="54340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6B362EF3-D39F-EC42-A5D7-C4168D6F208A}"/>
              </a:ext>
            </a:extLst>
          </p:cNvPr>
          <p:cNvGraphicFramePr>
            <a:graphicFrameLocks/>
          </p:cNvGraphicFramePr>
          <p:nvPr>
            <p:extLst/>
          </p:nvPr>
        </p:nvGraphicFramePr>
        <p:xfrm>
          <a:off x="6383000" y="1253730"/>
          <a:ext cx="3739989" cy="50347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11CD74B0-A675-CA44-B6A2-985A8802EA00}"/>
              </a:ext>
            </a:extLst>
          </p:cNvPr>
          <p:cNvGraphicFramePr>
            <a:graphicFrameLocks/>
          </p:cNvGraphicFramePr>
          <p:nvPr>
            <p:extLst/>
          </p:nvPr>
        </p:nvGraphicFramePr>
        <p:xfrm>
          <a:off x="1815067" y="1253730"/>
          <a:ext cx="4483116" cy="532554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73565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576634"/>
          </a:xfrm>
        </p:spPr>
        <p:txBody>
          <a:bodyPr/>
          <a:lstStyle/>
          <a:p>
            <a:pPr algn="just"/>
            <a:r>
              <a:rPr lang="en-GB" sz="1224" b="1" dirty="0"/>
              <a:t>Contrasting the Cost to Produce against the Volume of Water Produced highlights clear </a:t>
            </a:r>
            <a:r>
              <a:rPr lang="en-GB" sz="1224" b="1" i="1" dirty="0"/>
              <a:t>economies of scale</a:t>
            </a:r>
            <a:r>
              <a:rPr lang="en-GB" sz="1224" b="1" dirty="0"/>
              <a:t> with costs rapidly dwindling across all plants as volume surges, with this being particularly noticeable across the Kootha and Surjek Plants with costs dropping as much as 50%.  </a:t>
            </a:r>
            <a:endParaRPr lang="en-AU" sz="1224"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60030"/>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8644F748-9E8B-0747-879A-3A1439C32D12}"/>
              </a:ext>
            </a:extLst>
          </p:cNvPr>
          <p:cNvGraphicFramePr>
            <a:graphicFrameLocks/>
          </p:cNvGraphicFramePr>
          <p:nvPr>
            <p:extLst/>
          </p:nvPr>
        </p:nvGraphicFramePr>
        <p:xfrm>
          <a:off x="1478072" y="3869989"/>
          <a:ext cx="4618991" cy="28345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6CDD655-8DC4-EA4E-8705-C11ADCD6ECCD}"/>
              </a:ext>
            </a:extLst>
          </p:cNvPr>
          <p:cNvGraphicFramePr>
            <a:graphicFrameLocks/>
          </p:cNvGraphicFramePr>
          <p:nvPr>
            <p:extLst/>
          </p:nvPr>
        </p:nvGraphicFramePr>
        <p:xfrm>
          <a:off x="3372725" y="1045014"/>
          <a:ext cx="4885001" cy="26452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D572ADC2-5359-4044-B415-EA3E14429E00}"/>
              </a:ext>
            </a:extLst>
          </p:cNvPr>
          <p:cNvGraphicFramePr>
            <a:graphicFrameLocks/>
          </p:cNvGraphicFramePr>
          <p:nvPr>
            <p:extLst/>
          </p:nvPr>
        </p:nvGraphicFramePr>
        <p:xfrm>
          <a:off x="5815226" y="3904731"/>
          <a:ext cx="4975986" cy="27643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84955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72609"/>
          </a:xfrm>
        </p:spPr>
        <p:txBody>
          <a:bodyPr/>
          <a:lstStyle/>
          <a:p>
            <a:pPr algn="just"/>
            <a:r>
              <a:rPr lang="en-GB" sz="1428" b="1" dirty="0"/>
              <a:t>Drilling down further from a product-perspective, reveals two different patterns of elasticity where</a:t>
            </a:r>
            <a:br>
              <a:rPr lang="en-GB" sz="1428" b="1" dirty="0"/>
            </a:br>
            <a:r>
              <a:rPr lang="en-GB" sz="1428" b="1" dirty="0"/>
              <a:t>hard water tends to be relatively price inelastic regardless of quantity purchased, whilst soft water is more representative of an elastic price-to-volume relationship.</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60030"/>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8F4C397F-DF25-E74C-A951-CDDA14358D2D}"/>
              </a:ext>
            </a:extLst>
          </p:cNvPr>
          <p:cNvGraphicFramePr>
            <a:graphicFrameLocks/>
          </p:cNvGraphicFramePr>
          <p:nvPr>
            <p:extLst/>
          </p:nvPr>
        </p:nvGraphicFramePr>
        <p:xfrm>
          <a:off x="3763991" y="914076"/>
          <a:ext cx="4664019" cy="28446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F9B96D1-AB62-C24A-BD5E-913B9DBEEBDC}"/>
              </a:ext>
            </a:extLst>
          </p:cNvPr>
          <p:cNvGraphicFramePr>
            <a:graphicFrameLocks/>
          </p:cNvGraphicFramePr>
          <p:nvPr>
            <p:extLst/>
          </p:nvPr>
        </p:nvGraphicFramePr>
        <p:xfrm>
          <a:off x="1699203" y="3829524"/>
          <a:ext cx="4664019" cy="28395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5D6B0829-97B3-9C46-917F-FDFC075E532B}"/>
              </a:ext>
            </a:extLst>
          </p:cNvPr>
          <p:cNvGraphicFramePr>
            <a:graphicFrameLocks/>
          </p:cNvGraphicFramePr>
          <p:nvPr>
            <p:extLst/>
          </p:nvPr>
        </p:nvGraphicFramePr>
        <p:xfrm>
          <a:off x="6363222" y="3870396"/>
          <a:ext cx="4674182" cy="284465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87675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72609"/>
          </a:xfrm>
        </p:spPr>
        <p:txBody>
          <a:bodyPr/>
          <a:lstStyle/>
          <a:p>
            <a:pPr algn="just"/>
            <a:r>
              <a:rPr lang="en-GB" sz="1428" b="1" dirty="0"/>
              <a:t>Lastly, when viewing the economic pricing data from an micro-perspective, it is indicative that Soft Water is seen as more of a ‘less core’ product than that of Hard Water whose price remains largely inflexible</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60030"/>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ED398EED-F246-B542-B04E-2CC242C80C87}"/>
              </a:ext>
            </a:extLst>
          </p:cNvPr>
          <p:cNvGraphicFramePr>
            <a:graphicFrameLocks/>
          </p:cNvGraphicFramePr>
          <p:nvPr>
            <p:extLst/>
          </p:nvPr>
        </p:nvGraphicFramePr>
        <p:xfrm>
          <a:off x="3633521" y="906084"/>
          <a:ext cx="4741926" cy="2981208"/>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3133BD4B-9F06-9A48-A5E4-31288806C0F1}"/>
              </a:ext>
            </a:extLst>
          </p:cNvPr>
          <p:cNvPicPr>
            <a:picLocks noChangeAspect="1"/>
          </p:cNvPicPr>
          <p:nvPr/>
        </p:nvPicPr>
        <p:blipFill>
          <a:blip r:embed="rId4"/>
          <a:stretch>
            <a:fillRect/>
          </a:stretch>
        </p:blipFill>
        <p:spPr>
          <a:xfrm>
            <a:off x="1699203" y="3955893"/>
            <a:ext cx="4173144" cy="2650666"/>
          </a:xfrm>
          <a:prstGeom prst="rect">
            <a:avLst/>
          </a:prstGeom>
        </p:spPr>
      </p:pic>
      <p:pic>
        <p:nvPicPr>
          <p:cNvPr id="7" name="Picture 6">
            <a:extLst>
              <a:ext uri="{FF2B5EF4-FFF2-40B4-BE49-F238E27FC236}">
                <a16:creationId xmlns:a16="http://schemas.microsoft.com/office/drawing/2014/main" id="{2E1D3973-6FA7-BB41-B5CE-AF1B6659DA88}"/>
              </a:ext>
            </a:extLst>
          </p:cNvPr>
          <p:cNvPicPr>
            <a:picLocks noChangeAspect="1"/>
          </p:cNvPicPr>
          <p:nvPr/>
        </p:nvPicPr>
        <p:blipFill>
          <a:blip r:embed="rId5"/>
          <a:stretch>
            <a:fillRect/>
          </a:stretch>
        </p:blipFill>
        <p:spPr>
          <a:xfrm>
            <a:off x="6319655" y="3970342"/>
            <a:ext cx="4253463" cy="2591712"/>
          </a:xfrm>
          <a:prstGeom prst="rect">
            <a:avLst/>
          </a:prstGeom>
        </p:spPr>
      </p:pic>
    </p:spTree>
    <p:extLst>
      <p:ext uri="{BB962C8B-B14F-4D97-AF65-F5344CB8AC3E}">
        <p14:creationId xmlns:p14="http://schemas.microsoft.com/office/powerpoint/2010/main" val="1029092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C69FC-691E-A545-BBAA-D9297FE7DD74}"/>
              </a:ext>
            </a:extLst>
          </p:cNvPr>
          <p:cNvSpPr>
            <a:spLocks noGrp="1"/>
          </p:cNvSpPr>
          <p:nvPr>
            <p:ph type="ctrTitle"/>
          </p:nvPr>
        </p:nvSpPr>
        <p:spPr>
          <a:xfrm>
            <a:off x="835791" y="938027"/>
            <a:ext cx="6489172" cy="553998"/>
          </a:xfrm>
        </p:spPr>
        <p:txBody>
          <a:bodyPr/>
          <a:lstStyle/>
          <a:p>
            <a:r>
              <a:rPr lang="en-US" sz="3600" b="1" dirty="0"/>
              <a:t>Part III: Statistical Analysis</a:t>
            </a:r>
            <a:endParaRPr lang="en-US" dirty="0"/>
          </a:p>
        </p:txBody>
      </p:sp>
      <p:sp>
        <p:nvSpPr>
          <p:cNvPr id="3" name="Subtitle 2">
            <a:extLst>
              <a:ext uri="{FF2B5EF4-FFF2-40B4-BE49-F238E27FC236}">
                <a16:creationId xmlns:a16="http://schemas.microsoft.com/office/drawing/2014/main" id="{3C64A773-79D5-5245-86EC-901C75E9AC18}"/>
              </a:ext>
            </a:extLst>
          </p:cNvPr>
          <p:cNvSpPr>
            <a:spLocks noGrp="1"/>
          </p:cNvSpPr>
          <p:nvPr>
            <p:ph type="subTitle" idx="1"/>
          </p:nvPr>
        </p:nvSpPr>
        <p:spPr>
          <a:xfrm>
            <a:off x="835791" y="2123928"/>
            <a:ext cx="6967090" cy="3016210"/>
          </a:xfrm>
        </p:spPr>
        <p:txBody>
          <a:bodyPr/>
          <a:lstStyle/>
          <a:p>
            <a:pPr marL="342900" indent="-342900">
              <a:buFont typeface="Arial" panose="020B0604020202020204" pitchFamily="34" charset="0"/>
              <a:buChar char="•"/>
            </a:pPr>
            <a:r>
              <a:rPr lang="en-US" sz="2800" b="1" dirty="0"/>
              <a:t>OBJECTIVE: </a:t>
            </a:r>
            <a:r>
              <a:rPr lang="en-US" sz="2800" dirty="0"/>
              <a:t>Create an alarm using statistical analysis of time series data to identify variables correlated with pump failure in order to reduce maintenance costs caused by pump failures</a:t>
            </a:r>
          </a:p>
          <a:p>
            <a:endParaRPr lang="en-US" sz="2800" dirty="0"/>
          </a:p>
        </p:txBody>
      </p:sp>
    </p:spTree>
    <p:extLst>
      <p:ext uri="{BB962C8B-B14F-4D97-AF65-F5344CB8AC3E}">
        <p14:creationId xmlns:p14="http://schemas.microsoft.com/office/powerpoint/2010/main" val="4081879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48664"/>
          </a:xfrm>
        </p:spPr>
        <p:txBody>
          <a:bodyPr/>
          <a:lstStyle/>
          <a:p>
            <a:pPr algn="just"/>
            <a:r>
              <a:rPr lang="en-GB" sz="1377"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77"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12871"/>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B6E35C68-D4B2-254D-A79E-887A2313E0E8}"/>
              </a:ext>
            </a:extLst>
          </p:cNvPr>
          <p:cNvGraphicFramePr>
            <a:graphicFrameLocks/>
          </p:cNvGraphicFramePr>
          <p:nvPr>
            <p:extLst/>
          </p:nvPr>
        </p:nvGraphicFramePr>
        <p:xfrm>
          <a:off x="5983154" y="1000931"/>
          <a:ext cx="4509643" cy="53932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B12A3718-1B39-0B42-9C72-D994197B5F2C}"/>
              </a:ext>
            </a:extLst>
          </p:cNvPr>
          <p:cNvGraphicFramePr>
            <a:graphicFrameLocks/>
          </p:cNvGraphicFramePr>
          <p:nvPr>
            <p:extLst/>
          </p:nvPr>
        </p:nvGraphicFramePr>
        <p:xfrm>
          <a:off x="1844822" y="988315"/>
          <a:ext cx="3992934" cy="5680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098346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72609"/>
          </a:xfrm>
        </p:spPr>
        <p:txBody>
          <a:bodyPr/>
          <a:lstStyle/>
          <a:p>
            <a:pPr algn="just"/>
            <a:r>
              <a:rPr lang="en-GB" sz="1428"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28"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699204" y="912871"/>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5E48C7DB-46CF-B346-A674-41AE1440ABFE}"/>
              </a:ext>
            </a:extLst>
          </p:cNvPr>
          <p:cNvGraphicFramePr>
            <a:graphicFrameLocks/>
          </p:cNvGraphicFramePr>
          <p:nvPr>
            <p:extLst/>
          </p:nvPr>
        </p:nvGraphicFramePr>
        <p:xfrm>
          <a:off x="1723350" y="999942"/>
          <a:ext cx="8609938" cy="27886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24A7E815-1AB5-E846-ACCD-478CF9034052}"/>
              </a:ext>
            </a:extLst>
          </p:cNvPr>
          <p:cNvGraphicFramePr>
            <a:graphicFrameLocks/>
          </p:cNvGraphicFramePr>
          <p:nvPr>
            <p:extLst/>
          </p:nvPr>
        </p:nvGraphicFramePr>
        <p:xfrm>
          <a:off x="1748421" y="3880458"/>
          <a:ext cx="8609939" cy="27886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518234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72609"/>
          </a:xfrm>
        </p:spPr>
        <p:txBody>
          <a:bodyPr/>
          <a:lstStyle/>
          <a:p>
            <a:pPr algn="just"/>
            <a:r>
              <a:rPr lang="en-GB" sz="1428" b="1" dirty="0"/>
              <a:t>Further segmentation of the data via binary means (Pump Failure = 0 or 1) illustrated through scatter plots show a clear signature difference between that of normal behaviour and that of Failure with pump torque, pump speed, and pump efficiency showing the 3 largest variances.</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60030"/>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4099678" y="1120894"/>
            <a:ext cx="3739991" cy="4707281"/>
          </a:xfrm>
          <a:prstGeom prst="rect">
            <a:avLst/>
          </a:prstGeom>
        </p:spPr>
        <p:txBody>
          <a:bodyPr wrap="square">
            <a:spAutoFit/>
          </a:bodyPr>
          <a:lstStyle/>
          <a:p>
            <a:pPr defTabSz="932962">
              <a:defRPr/>
            </a:pPr>
            <a:r>
              <a:rPr lang="en-AU" sz="1224" b="1" dirty="0">
                <a:solidFill>
                  <a:srgbClr val="000000"/>
                </a:solidFill>
                <a:latin typeface="Arial"/>
                <a:ea typeface="ＭＳ Ｐゴシック"/>
              </a:rPr>
              <a:t>The third slide will illustrate how we have made use of descriptive statistics plot to identify which variables have exhibited the largest overall variances. </a:t>
            </a:r>
          </a:p>
          <a:p>
            <a:pPr defTabSz="932962">
              <a:defRPr/>
            </a:pPr>
            <a:endParaRPr lang="en-AU" sz="1224" b="1" dirty="0">
              <a:solidFill>
                <a:srgbClr val="000000"/>
              </a:solidFill>
              <a:latin typeface="Arial"/>
              <a:ea typeface="ＭＳ Ｐゴシック"/>
            </a:endParaRPr>
          </a:p>
          <a:p>
            <a:pPr defTabSz="932962">
              <a:defRPr/>
            </a:pPr>
            <a:r>
              <a:rPr lang="en-AU" sz="1224" b="1" dirty="0">
                <a:solidFill>
                  <a:srgbClr val="000000"/>
                </a:solidFill>
                <a:latin typeface="Arial"/>
                <a:ea typeface="ＭＳ Ｐゴシック"/>
              </a:rPr>
              <a:t>On this slide, we would like you to show four charts:</a:t>
            </a:r>
            <a:br>
              <a:rPr lang="en-AU" sz="1224" b="1" dirty="0">
                <a:solidFill>
                  <a:srgbClr val="000000"/>
                </a:solidFill>
                <a:latin typeface="Arial"/>
                <a:ea typeface="ＭＳ Ｐゴシック"/>
              </a:rPr>
            </a:br>
            <a:r>
              <a:rPr lang="en-AU" sz="1224" b="1" dirty="0">
                <a:solidFill>
                  <a:srgbClr val="000000"/>
                </a:solidFill>
                <a:latin typeface="Arial"/>
                <a:ea typeface="ＭＳ Ｐゴシック"/>
              </a:rPr>
              <a:t>A) Rolling Standard Deviation Plot (Pump Failure = 1)</a:t>
            </a:r>
          </a:p>
          <a:p>
            <a:pPr defTabSz="932962">
              <a:defRPr/>
            </a:pPr>
            <a:r>
              <a:rPr lang="en-AU" sz="1224" b="1" dirty="0">
                <a:solidFill>
                  <a:srgbClr val="000000"/>
                </a:solidFill>
                <a:latin typeface="Arial"/>
                <a:ea typeface="ＭＳ Ｐゴシック"/>
              </a:rPr>
              <a:t>B) Rolling Standard Deviation Plot (Pump Failure = 0) </a:t>
            </a:r>
          </a:p>
          <a:p>
            <a:pPr defTabSz="932962">
              <a:defRPr/>
            </a:pPr>
            <a:r>
              <a:rPr lang="en-AU" sz="1224" b="1" dirty="0">
                <a:solidFill>
                  <a:srgbClr val="000000"/>
                </a:solidFill>
                <a:latin typeface="Arial"/>
                <a:ea typeface="ＭＳ Ｐゴシック"/>
              </a:rPr>
              <a:t>C) Rolling Mean Plot (Pump Failure = 1)</a:t>
            </a:r>
          </a:p>
          <a:p>
            <a:pPr defTabSz="932962">
              <a:defRPr/>
            </a:pPr>
            <a:r>
              <a:rPr lang="en-AU" sz="1224" b="1" dirty="0">
                <a:solidFill>
                  <a:srgbClr val="000000"/>
                </a:solidFill>
                <a:latin typeface="Arial"/>
                <a:ea typeface="ＭＳ Ｐゴシック"/>
              </a:rPr>
              <a:t>D) Rolling Mean Plot (Pump Failure = 0) </a:t>
            </a:r>
          </a:p>
          <a:p>
            <a:pPr defTabSz="932962">
              <a:defRPr/>
            </a:pPr>
            <a:endParaRPr lang="en-AU" sz="1224" b="1" dirty="0">
              <a:solidFill>
                <a:srgbClr val="000000"/>
              </a:solidFill>
              <a:latin typeface="Arial"/>
              <a:ea typeface="ＭＳ Ｐゴシック"/>
            </a:endParaRPr>
          </a:p>
          <a:p>
            <a:pPr defTabSz="932962">
              <a:defRPr/>
            </a:pPr>
            <a:endParaRPr lang="en-AU" sz="1224" b="1" dirty="0">
              <a:solidFill>
                <a:srgbClr val="000000"/>
              </a:solidFill>
              <a:latin typeface="Arial"/>
              <a:ea typeface="ＭＳ Ｐゴシック"/>
            </a:endParaRPr>
          </a:p>
          <a:p>
            <a:pPr defTabSz="932962"/>
            <a:r>
              <a:rPr lang="en-AU" sz="1224" b="1" dirty="0">
                <a:solidFill>
                  <a:srgbClr val="000000"/>
                </a:solidFill>
                <a:latin typeface="Arial"/>
                <a:ea typeface="ＭＳ Ｐゴシック"/>
              </a:rPr>
              <a:t>Hint: The Chart you’ve created for the Descriptive Statistics Tab, Q4 may be helpful to complete this exercise. </a:t>
            </a:r>
          </a:p>
          <a:p>
            <a:pPr defTabSz="932962"/>
            <a:endParaRPr lang="en-AU" sz="1224" b="1" dirty="0">
              <a:solidFill>
                <a:srgbClr val="000000"/>
              </a:solidFill>
              <a:latin typeface="Arial"/>
              <a:ea typeface="ＭＳ Ｐゴシック"/>
            </a:endParaRPr>
          </a:p>
          <a:p>
            <a:pPr defTabSz="932962"/>
            <a:r>
              <a:rPr lang="en-AU" sz="1224" b="1" dirty="0">
                <a:solidFill>
                  <a:srgbClr val="000000"/>
                </a:solidFill>
                <a:latin typeface="Arial"/>
                <a:ea typeface="ＭＳ Ｐゴシック"/>
              </a:rPr>
              <a:t>We’ve included an example of what the descriptive statistics plots might look like on the right.</a:t>
            </a:r>
          </a:p>
          <a:p>
            <a:pPr defTabSz="932962"/>
            <a:endParaRPr lang="en-AU" sz="1224" b="1" dirty="0">
              <a:solidFill>
                <a:srgbClr val="000000"/>
              </a:solidFill>
              <a:latin typeface="Arial"/>
              <a:ea typeface="ＭＳ Ｐゴシック"/>
            </a:endParaRPr>
          </a:p>
          <a:p>
            <a:pPr defTabSz="932962"/>
            <a:endParaRPr lang="en-AU" sz="1224" b="1" dirty="0">
              <a:solidFill>
                <a:srgbClr val="000000"/>
              </a:solidFill>
              <a:latin typeface="Arial"/>
              <a:ea typeface="ＭＳ Ｐゴシック"/>
            </a:endParaRPr>
          </a:p>
        </p:txBody>
      </p:sp>
      <p:sp>
        <p:nvSpPr>
          <p:cNvPr id="11" name="TextBox 10">
            <a:extLst>
              <a:ext uri="{FF2B5EF4-FFF2-40B4-BE49-F238E27FC236}">
                <a16:creationId xmlns:a16="http://schemas.microsoft.com/office/drawing/2014/main" id="{43A87314-D1FF-CB43-BCFD-4B9D704CDE6B}"/>
              </a:ext>
            </a:extLst>
          </p:cNvPr>
          <p:cNvSpPr txBox="1"/>
          <p:nvPr/>
        </p:nvSpPr>
        <p:spPr>
          <a:xfrm>
            <a:off x="5884101" y="3987064"/>
            <a:ext cx="4597149" cy="671104"/>
          </a:xfrm>
          <a:prstGeom prst="rect">
            <a:avLst/>
          </a:prstGeom>
          <a:noFill/>
        </p:spPr>
        <p:txBody>
          <a:bodyPr wrap="square">
            <a:spAutoFit/>
          </a:bodyPr>
          <a:lstStyle/>
          <a:p>
            <a:pPr algn="ctr" defTabSz="932962">
              <a:defRPr/>
            </a:pPr>
            <a:r>
              <a:rPr lang="en-US" sz="1837" b="1" cap="all" spc="153" dirty="0">
                <a:solidFill>
                  <a:sysClr val="windowText" lastClr="000000">
                    <a:lumMod val="50000"/>
                    <a:lumOff val="50000"/>
                  </a:sysClr>
                </a:solidFill>
                <a:latin typeface="Calibri" panose="020F0502020204030204"/>
                <a:ea typeface="ＭＳ Ｐゴシック"/>
              </a:rPr>
              <a:t>ROLLING STANDARD DEVIATION (PUMP FAILURE =0)</a:t>
            </a:r>
          </a:p>
        </p:txBody>
      </p:sp>
      <p:sp>
        <p:nvSpPr>
          <p:cNvPr id="19" name="TextBox 18">
            <a:extLst>
              <a:ext uri="{FF2B5EF4-FFF2-40B4-BE49-F238E27FC236}">
                <a16:creationId xmlns:a16="http://schemas.microsoft.com/office/drawing/2014/main" id="{43DFF2A5-8E07-D34D-A3C0-E917180BFA28}"/>
              </a:ext>
            </a:extLst>
          </p:cNvPr>
          <p:cNvSpPr txBox="1"/>
          <p:nvPr/>
        </p:nvSpPr>
        <p:spPr>
          <a:xfrm>
            <a:off x="5884101" y="1077382"/>
            <a:ext cx="4597149" cy="671104"/>
          </a:xfrm>
          <a:prstGeom prst="rect">
            <a:avLst/>
          </a:prstGeom>
          <a:noFill/>
        </p:spPr>
        <p:txBody>
          <a:bodyPr wrap="square">
            <a:spAutoFit/>
          </a:bodyPr>
          <a:lstStyle/>
          <a:p>
            <a:pPr algn="ctr" defTabSz="932962">
              <a:defRPr/>
            </a:pPr>
            <a:r>
              <a:rPr lang="en-US" sz="1837" b="1" cap="all" spc="153" dirty="0">
                <a:solidFill>
                  <a:sysClr val="windowText" lastClr="000000">
                    <a:lumMod val="50000"/>
                    <a:lumOff val="50000"/>
                  </a:sysClr>
                </a:solidFill>
                <a:latin typeface="Calibri" panose="020F0502020204030204"/>
                <a:ea typeface="ＭＳ Ｐゴシック"/>
              </a:rPr>
              <a:t>ROLLING STANDARD DEVIATION (PUMP FAILURE =1)</a:t>
            </a:r>
          </a:p>
        </p:txBody>
      </p:sp>
      <p:sp>
        <p:nvSpPr>
          <p:cNvPr id="20" name="TextBox 19">
            <a:extLst>
              <a:ext uri="{FF2B5EF4-FFF2-40B4-BE49-F238E27FC236}">
                <a16:creationId xmlns:a16="http://schemas.microsoft.com/office/drawing/2014/main" id="{2511B5B0-E101-544D-9603-E51ECE15A351}"/>
              </a:ext>
            </a:extLst>
          </p:cNvPr>
          <p:cNvSpPr txBox="1"/>
          <p:nvPr/>
        </p:nvSpPr>
        <p:spPr>
          <a:xfrm>
            <a:off x="1407335" y="1071697"/>
            <a:ext cx="4597149" cy="382657"/>
          </a:xfrm>
          <a:prstGeom prst="rect">
            <a:avLst/>
          </a:prstGeom>
          <a:noFill/>
        </p:spPr>
        <p:txBody>
          <a:bodyPr wrap="square">
            <a:spAutoFit/>
          </a:bodyPr>
          <a:lstStyle/>
          <a:p>
            <a:pPr algn="ctr" defTabSz="932962">
              <a:defRPr/>
            </a:pPr>
            <a:r>
              <a:rPr lang="en-US" sz="1837" b="1" cap="all" spc="153" dirty="0">
                <a:solidFill>
                  <a:sysClr val="windowText" lastClr="000000">
                    <a:lumMod val="50000"/>
                    <a:lumOff val="50000"/>
                  </a:sysClr>
                </a:solidFill>
                <a:latin typeface="Calibri" panose="020F0502020204030204"/>
                <a:ea typeface="ＭＳ Ｐゴシック"/>
              </a:rPr>
              <a:t>ROLLING mean (PUMP FAILURE =1)</a:t>
            </a:r>
          </a:p>
        </p:txBody>
      </p:sp>
      <p:sp>
        <p:nvSpPr>
          <p:cNvPr id="21" name="TextBox 20">
            <a:extLst>
              <a:ext uri="{FF2B5EF4-FFF2-40B4-BE49-F238E27FC236}">
                <a16:creationId xmlns:a16="http://schemas.microsoft.com/office/drawing/2014/main" id="{99DFD295-8FBA-9A48-9B11-2FD51623739D}"/>
              </a:ext>
            </a:extLst>
          </p:cNvPr>
          <p:cNvSpPr txBox="1"/>
          <p:nvPr/>
        </p:nvSpPr>
        <p:spPr>
          <a:xfrm>
            <a:off x="1286951" y="3987063"/>
            <a:ext cx="4597149" cy="671104"/>
          </a:xfrm>
          <a:prstGeom prst="rect">
            <a:avLst/>
          </a:prstGeom>
          <a:noFill/>
        </p:spPr>
        <p:txBody>
          <a:bodyPr wrap="square">
            <a:spAutoFit/>
          </a:bodyPr>
          <a:lstStyle/>
          <a:p>
            <a:pPr algn="ctr" defTabSz="932962">
              <a:defRPr/>
            </a:pPr>
            <a:r>
              <a:rPr lang="en-US" sz="1837" b="1" cap="all" spc="153" dirty="0">
                <a:solidFill>
                  <a:sysClr val="windowText" lastClr="000000">
                    <a:lumMod val="50000"/>
                    <a:lumOff val="50000"/>
                  </a:sysClr>
                </a:solidFill>
                <a:latin typeface="Calibri" panose="020F0502020204030204"/>
                <a:ea typeface="ＭＳ Ｐゴシック"/>
              </a:rPr>
              <a:t>ROLLING mean</a:t>
            </a:r>
          </a:p>
          <a:p>
            <a:pPr algn="ctr" defTabSz="932962">
              <a:defRPr/>
            </a:pPr>
            <a:r>
              <a:rPr lang="en-US" sz="1837" b="1" cap="all" spc="153" dirty="0">
                <a:solidFill>
                  <a:sysClr val="windowText" lastClr="000000">
                    <a:lumMod val="50000"/>
                    <a:lumOff val="50000"/>
                  </a:sysClr>
                </a:solidFill>
                <a:latin typeface="Calibri" panose="020F0502020204030204"/>
                <a:ea typeface="ＭＳ Ｐゴシック"/>
              </a:rPr>
              <a:t>(PUMP FAILURE =0)</a:t>
            </a:r>
          </a:p>
        </p:txBody>
      </p:sp>
      <p:pic>
        <p:nvPicPr>
          <p:cNvPr id="22" name="Picture 21">
            <a:extLst>
              <a:ext uri="{FF2B5EF4-FFF2-40B4-BE49-F238E27FC236}">
                <a16:creationId xmlns:a16="http://schemas.microsoft.com/office/drawing/2014/main" id="{090351FA-C0AF-1E45-819D-5BF810B35C8D}"/>
              </a:ext>
            </a:extLst>
          </p:cNvPr>
          <p:cNvPicPr>
            <a:picLocks noChangeAspect="1"/>
          </p:cNvPicPr>
          <p:nvPr/>
        </p:nvPicPr>
        <p:blipFill>
          <a:blip r:embed="rId2"/>
          <a:stretch>
            <a:fillRect/>
          </a:stretch>
        </p:blipFill>
        <p:spPr>
          <a:xfrm>
            <a:off x="1635605" y="4637658"/>
            <a:ext cx="4229372" cy="1910764"/>
          </a:xfrm>
          <a:prstGeom prst="rect">
            <a:avLst/>
          </a:prstGeom>
        </p:spPr>
      </p:pic>
      <p:pic>
        <p:nvPicPr>
          <p:cNvPr id="23" name="Picture 22">
            <a:extLst>
              <a:ext uri="{FF2B5EF4-FFF2-40B4-BE49-F238E27FC236}">
                <a16:creationId xmlns:a16="http://schemas.microsoft.com/office/drawing/2014/main" id="{5B3CD712-AD0C-1B40-8EBA-42858742103B}"/>
              </a:ext>
            </a:extLst>
          </p:cNvPr>
          <p:cNvPicPr>
            <a:picLocks noChangeAspect="1"/>
          </p:cNvPicPr>
          <p:nvPr/>
        </p:nvPicPr>
        <p:blipFill>
          <a:blip r:embed="rId3"/>
          <a:stretch>
            <a:fillRect/>
          </a:stretch>
        </p:blipFill>
        <p:spPr>
          <a:xfrm>
            <a:off x="1635605" y="1772238"/>
            <a:ext cx="4229372" cy="1930868"/>
          </a:xfrm>
          <a:prstGeom prst="rect">
            <a:avLst/>
          </a:prstGeom>
        </p:spPr>
      </p:pic>
      <p:pic>
        <p:nvPicPr>
          <p:cNvPr id="24" name="Picture 23">
            <a:extLst>
              <a:ext uri="{FF2B5EF4-FFF2-40B4-BE49-F238E27FC236}">
                <a16:creationId xmlns:a16="http://schemas.microsoft.com/office/drawing/2014/main" id="{DA300431-8965-5C47-A305-36B70FB2529D}"/>
              </a:ext>
            </a:extLst>
          </p:cNvPr>
          <p:cNvPicPr>
            <a:picLocks noChangeAspect="1"/>
          </p:cNvPicPr>
          <p:nvPr/>
        </p:nvPicPr>
        <p:blipFill>
          <a:blip r:embed="rId4"/>
          <a:stretch>
            <a:fillRect/>
          </a:stretch>
        </p:blipFill>
        <p:spPr>
          <a:xfrm>
            <a:off x="6213631" y="4688030"/>
            <a:ext cx="4096135" cy="1942867"/>
          </a:xfrm>
          <a:prstGeom prst="rect">
            <a:avLst/>
          </a:prstGeom>
        </p:spPr>
      </p:pic>
      <p:pic>
        <p:nvPicPr>
          <p:cNvPr id="25" name="Picture 24">
            <a:extLst>
              <a:ext uri="{FF2B5EF4-FFF2-40B4-BE49-F238E27FC236}">
                <a16:creationId xmlns:a16="http://schemas.microsoft.com/office/drawing/2014/main" id="{78C779D7-1623-E247-9F43-63217936E95B}"/>
              </a:ext>
            </a:extLst>
          </p:cNvPr>
          <p:cNvPicPr>
            <a:picLocks noChangeAspect="1"/>
          </p:cNvPicPr>
          <p:nvPr/>
        </p:nvPicPr>
        <p:blipFill>
          <a:blip r:embed="rId5"/>
          <a:stretch>
            <a:fillRect/>
          </a:stretch>
        </p:blipFill>
        <p:spPr>
          <a:xfrm>
            <a:off x="6336001" y="1731355"/>
            <a:ext cx="4161097" cy="1930868"/>
          </a:xfrm>
          <a:prstGeom prst="rect">
            <a:avLst/>
          </a:prstGeom>
        </p:spPr>
      </p:pic>
    </p:spTree>
    <p:extLst>
      <p:ext uri="{BB962C8B-B14F-4D97-AF65-F5344CB8AC3E}">
        <p14:creationId xmlns:p14="http://schemas.microsoft.com/office/powerpoint/2010/main" val="28219274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625670" y="80753"/>
            <a:ext cx="8793595" cy="896812"/>
          </a:xfrm>
        </p:spPr>
        <p:txBody>
          <a:bodyPr/>
          <a:lstStyle/>
          <a:p>
            <a:pPr algn="just"/>
            <a:r>
              <a:rPr lang="en-AU" sz="1428" b="1" dirty="0"/>
              <a:t>Correlation analyses across datasets yield interesting insights with pump efficiency and volumetric flow meter 2 negatively correlated with Pump Failure in the Rolling Mean Data, whilst horse power and volumetric flow 1 show a subsequently strong &lt;positive/negative&gt; correlation in the Rolling St. 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699204" y="960030"/>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4385590" y="1605303"/>
            <a:ext cx="3959483" cy="4899492"/>
          </a:xfrm>
          <a:prstGeom prst="rect">
            <a:avLst/>
          </a:prstGeom>
        </p:spPr>
        <p:txBody>
          <a:bodyPr wrap="square">
            <a:spAutoFit/>
          </a:bodyPr>
          <a:lstStyle/>
          <a:p>
            <a:pPr defTabSz="932962">
              <a:defRPr/>
            </a:pPr>
            <a:r>
              <a:rPr lang="en-AU" sz="1224" b="1" dirty="0">
                <a:solidFill>
                  <a:srgbClr val="000000"/>
                </a:solidFill>
                <a:latin typeface="Arial"/>
                <a:ea typeface="ＭＳ Ｐゴシック"/>
              </a:rPr>
              <a:t>The fourth slide will illustrate how we have made use of inferential statistics to identify which variables have exhibited the largest correlation spreads. </a:t>
            </a:r>
          </a:p>
          <a:p>
            <a:pPr defTabSz="932962">
              <a:defRPr/>
            </a:pPr>
            <a:endParaRPr lang="en-AU" sz="1224" b="1" dirty="0">
              <a:solidFill>
                <a:srgbClr val="000000"/>
              </a:solidFill>
              <a:latin typeface="Arial"/>
              <a:ea typeface="ＭＳ Ｐゴシック"/>
            </a:endParaRPr>
          </a:p>
          <a:p>
            <a:pPr defTabSz="932962">
              <a:defRPr/>
            </a:pPr>
            <a:r>
              <a:rPr lang="en-AU" sz="1224" b="1" dirty="0">
                <a:solidFill>
                  <a:srgbClr val="000000"/>
                </a:solidFill>
                <a:latin typeface="Arial"/>
                <a:ea typeface="ＭＳ Ｐゴシック"/>
              </a:rPr>
              <a:t>On this slide, we would like you to show three charts.</a:t>
            </a:r>
          </a:p>
          <a:p>
            <a:pPr defTabSz="932962">
              <a:defRPr/>
            </a:pPr>
            <a:r>
              <a:rPr lang="en-AU" sz="1224" b="1" dirty="0">
                <a:solidFill>
                  <a:srgbClr val="000000"/>
                </a:solidFill>
                <a:latin typeface="Arial"/>
                <a:ea typeface="ＭＳ Ｐゴシック"/>
              </a:rPr>
              <a:t>A) Raw Dataset Correlation against Pump Failure </a:t>
            </a:r>
          </a:p>
          <a:p>
            <a:pPr defTabSz="932962">
              <a:defRPr/>
            </a:pPr>
            <a:r>
              <a:rPr lang="en-AU" sz="1224" b="1" dirty="0">
                <a:solidFill>
                  <a:srgbClr val="000000"/>
                </a:solidFill>
                <a:latin typeface="Arial"/>
                <a:ea typeface="ＭＳ Ｐゴシック"/>
              </a:rPr>
              <a:t>B) Rolling Mean Dataset Correlation against Pump Failure </a:t>
            </a:r>
          </a:p>
          <a:p>
            <a:pPr defTabSz="932962">
              <a:defRPr/>
            </a:pPr>
            <a:r>
              <a:rPr lang="en-AU" sz="1224" b="1" dirty="0">
                <a:solidFill>
                  <a:srgbClr val="000000"/>
                </a:solidFill>
                <a:latin typeface="Arial"/>
                <a:ea typeface="ＭＳ Ｐゴシック"/>
              </a:rPr>
              <a:t>C) Rolling Standard Deviation Dataset Correlation against Pump Failure </a:t>
            </a:r>
          </a:p>
          <a:p>
            <a:pPr defTabSz="932962">
              <a:defRPr/>
            </a:pPr>
            <a:endParaRPr lang="en-AU" sz="1224" b="1" dirty="0">
              <a:solidFill>
                <a:srgbClr val="000000"/>
              </a:solidFill>
              <a:latin typeface="Arial"/>
              <a:ea typeface="ＭＳ Ｐゴシック"/>
            </a:endParaRPr>
          </a:p>
          <a:p>
            <a:pPr defTabSz="932962">
              <a:defRPr/>
            </a:pPr>
            <a:endParaRPr lang="en-AU" sz="1224" b="1" dirty="0">
              <a:solidFill>
                <a:srgbClr val="000000"/>
              </a:solidFill>
              <a:latin typeface="Arial"/>
              <a:ea typeface="ＭＳ Ｐゴシック"/>
            </a:endParaRPr>
          </a:p>
          <a:p>
            <a:pPr defTabSz="932962"/>
            <a:r>
              <a:rPr lang="en-AU" sz="1224" b="1" dirty="0">
                <a:solidFill>
                  <a:srgbClr val="000000"/>
                </a:solidFill>
                <a:latin typeface="Arial"/>
                <a:ea typeface="ＭＳ Ｐゴシック"/>
              </a:rPr>
              <a:t>Hint: The Correlation Heatmap’s you’ve created in Q5 on the Inferential Tab will be very helpful for this question. Don’t forget to reference the ‘Pump Failure (1 or 0)’ row for specifically the correlations related to this.</a:t>
            </a:r>
          </a:p>
          <a:p>
            <a:pPr defTabSz="932962"/>
            <a:endParaRPr lang="en-AU" sz="1224" b="1" dirty="0">
              <a:solidFill>
                <a:srgbClr val="000000"/>
              </a:solidFill>
              <a:latin typeface="Arial"/>
              <a:ea typeface="ＭＳ Ｐゴシック"/>
            </a:endParaRPr>
          </a:p>
          <a:p>
            <a:pPr defTabSz="932962"/>
            <a:r>
              <a:rPr lang="en-AU" sz="1224" b="1" dirty="0">
                <a:solidFill>
                  <a:srgbClr val="000000"/>
                </a:solidFill>
                <a:latin typeface="Arial"/>
                <a:ea typeface="ＭＳ Ｐゴシック"/>
              </a:rPr>
              <a:t>We’ve included an example of what the correlation plot for one of the datasets might look like for your reference. </a:t>
            </a:r>
          </a:p>
          <a:p>
            <a:pPr defTabSz="932962"/>
            <a:endParaRPr lang="en-AU" sz="1224" b="1" dirty="0">
              <a:solidFill>
                <a:srgbClr val="000000"/>
              </a:solidFill>
              <a:latin typeface="Arial"/>
              <a:ea typeface="ＭＳ Ｐゴシック"/>
            </a:endParaRPr>
          </a:p>
          <a:p>
            <a:pPr defTabSz="932962"/>
            <a:endParaRPr lang="en-AU" sz="1224" b="1" dirty="0">
              <a:solidFill>
                <a:srgbClr val="000000"/>
              </a:solidFill>
              <a:latin typeface="Arial"/>
              <a:ea typeface="ＭＳ Ｐゴシック"/>
            </a:endParaRPr>
          </a:p>
        </p:txBody>
      </p:sp>
      <p:graphicFrame>
        <p:nvGraphicFramePr>
          <p:cNvPr id="8" name="Chart 7">
            <a:extLst>
              <a:ext uri="{FF2B5EF4-FFF2-40B4-BE49-F238E27FC236}">
                <a16:creationId xmlns:a16="http://schemas.microsoft.com/office/drawing/2014/main" id="{58D95F9F-E490-B348-A480-C2396F3E5FCD}"/>
              </a:ext>
            </a:extLst>
          </p:cNvPr>
          <p:cNvGraphicFramePr>
            <a:graphicFrameLocks/>
          </p:cNvGraphicFramePr>
          <p:nvPr>
            <p:extLst/>
          </p:nvPr>
        </p:nvGraphicFramePr>
        <p:xfrm>
          <a:off x="7524566" y="1123202"/>
          <a:ext cx="2968231" cy="53082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17FF6705-121F-C442-87A7-23C496E0C3E2}"/>
              </a:ext>
            </a:extLst>
          </p:cNvPr>
          <p:cNvGraphicFramePr>
            <a:graphicFrameLocks/>
          </p:cNvGraphicFramePr>
          <p:nvPr>
            <p:extLst/>
          </p:nvPr>
        </p:nvGraphicFramePr>
        <p:xfrm>
          <a:off x="4520368" y="1123202"/>
          <a:ext cx="3004198" cy="54163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26B9A797-7012-0440-9121-F40BBE140682}"/>
              </a:ext>
            </a:extLst>
          </p:cNvPr>
          <p:cNvGraphicFramePr>
            <a:graphicFrameLocks/>
          </p:cNvGraphicFramePr>
          <p:nvPr>
            <p:extLst/>
          </p:nvPr>
        </p:nvGraphicFramePr>
        <p:xfrm>
          <a:off x="1484937" y="1208697"/>
          <a:ext cx="3004198" cy="53308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08823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209043"/>
            <a:ext cx="8915075" cy="896812"/>
          </a:xfrm>
        </p:spPr>
        <p:txBody>
          <a:bodyPr/>
          <a:lstStyle/>
          <a:p>
            <a:r>
              <a:rPr lang="en-GB" sz="1428" b="1" dirty="0"/>
              <a:t>Lastly, analysis of the model fit reveals that with a R Squared of 77.89%, a linear model is a good fit for the data with variables Horse Power, Pump Efficiency and Volumetric Flow Meter 2 having the largest coefficients, indicative that these variables have the most immediate relationship with respect to Pump Failure behaviour. </a:t>
            </a:r>
            <a:endParaRPr lang="en-AU" sz="1428"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699204" y="1294545"/>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8DEBE82D-C7D0-7B4B-9DFE-E7E8C5B93DB0}"/>
              </a:ext>
            </a:extLst>
          </p:cNvPr>
          <p:cNvGraphicFramePr>
            <a:graphicFrameLocks/>
          </p:cNvGraphicFramePr>
          <p:nvPr>
            <p:extLst/>
          </p:nvPr>
        </p:nvGraphicFramePr>
        <p:xfrm>
          <a:off x="1655696" y="1761372"/>
          <a:ext cx="8697577" cy="31217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58036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84231"/>
            <a:ext cx="8915075" cy="672609"/>
          </a:xfrm>
        </p:spPr>
        <p:txBody>
          <a:bodyPr/>
          <a:lstStyle/>
          <a:p>
            <a:r>
              <a:rPr lang="en-GB" sz="1428" b="1" dirty="0"/>
              <a:t>Segmentation of the revenues by unit, reveals that of the three (3) customer segments, Private Water Sales ($187M) are the most popular, followed by Public Sales ($147M) and lastly Residential Sales ($103M). </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743689"/>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A3627123-685C-D841-9B94-9D8978C25605}"/>
              </a:ext>
            </a:extLst>
          </p:cNvPr>
          <p:cNvGraphicFramePr>
            <a:graphicFrameLocks/>
          </p:cNvGraphicFramePr>
          <p:nvPr>
            <p:extLst/>
          </p:nvPr>
        </p:nvGraphicFramePr>
        <p:xfrm>
          <a:off x="1699204" y="1016639"/>
          <a:ext cx="4562631" cy="56232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9E4CAE0D-DEA9-2B48-8E8A-E7451CA7DC47}"/>
              </a:ext>
            </a:extLst>
          </p:cNvPr>
          <p:cNvGraphicFramePr>
            <a:graphicFrameLocks/>
          </p:cNvGraphicFramePr>
          <p:nvPr>
            <p:extLst/>
          </p:nvPr>
        </p:nvGraphicFramePr>
        <p:xfrm>
          <a:off x="6156739" y="910965"/>
          <a:ext cx="4336058" cy="58628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49111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6"/>
            <a:ext cx="8915075" cy="448406"/>
          </a:xfrm>
        </p:spPr>
        <p:txBody>
          <a:bodyPr/>
          <a:lstStyle/>
          <a:p>
            <a:r>
              <a:rPr lang="en-GB" sz="1428" b="1" dirty="0"/>
              <a:t>Of the ($437M)¹ in Revenue Sales over the July-2013 to June-2014 Period, </a:t>
            </a:r>
            <a:r>
              <a:rPr lang="en-GB" sz="1428" b="1" dirty="0" err="1"/>
              <a:t>Surjek</a:t>
            </a:r>
            <a:r>
              <a:rPr lang="en-GB" sz="1428" b="1" dirty="0"/>
              <a:t> provides close to 50% of Sales Volumes ($202M), with </a:t>
            </a:r>
            <a:r>
              <a:rPr lang="en-GB" sz="1428" b="1" dirty="0" err="1"/>
              <a:t>Jutik</a:t>
            </a:r>
            <a:r>
              <a:rPr lang="en-GB" sz="1428" b="1" dirty="0"/>
              <a:t> ($164M) and </a:t>
            </a:r>
            <a:r>
              <a:rPr lang="en-GB" sz="1428" b="1" dirty="0" err="1"/>
              <a:t>Kootha</a:t>
            </a:r>
            <a:r>
              <a:rPr lang="en-GB" sz="1428" b="1" dirty="0"/>
              <a:t> ($71M) providing the remaining.</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743689"/>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699203" y="6571085"/>
            <a:ext cx="8684955" cy="254363"/>
          </a:xfrm>
          <a:prstGeom prst="rect">
            <a:avLst/>
          </a:prstGeom>
          <a:noFill/>
        </p:spPr>
        <p:txBody>
          <a:bodyPr wrap="square" rtlCol="0">
            <a:spAutoFit/>
          </a:bodyPr>
          <a:lstStyle/>
          <a:p>
            <a:pPr defTabSz="932962"/>
            <a:r>
              <a:rPr lang="en-AU" sz="1020" b="1" dirty="0">
                <a:solidFill>
                  <a:srgbClr val="000000"/>
                </a:solidFill>
                <a:latin typeface="Arial"/>
                <a:ea typeface="ＭＳ Ｐゴシック"/>
              </a:rPr>
              <a:t>Note: This refers to the Total Sales for all 3 Units (Kootha, Surjek and Jutik)</a:t>
            </a:r>
          </a:p>
        </p:txBody>
      </p:sp>
      <p:graphicFrame>
        <p:nvGraphicFramePr>
          <p:cNvPr id="8" name="Chart 7">
            <a:extLst>
              <a:ext uri="{FF2B5EF4-FFF2-40B4-BE49-F238E27FC236}">
                <a16:creationId xmlns:a16="http://schemas.microsoft.com/office/drawing/2014/main" id="{3AA77795-8E74-5049-900F-ED0BC9B5572A}"/>
              </a:ext>
            </a:extLst>
          </p:cNvPr>
          <p:cNvGraphicFramePr>
            <a:graphicFrameLocks/>
          </p:cNvGraphicFramePr>
          <p:nvPr>
            <p:extLst/>
          </p:nvPr>
        </p:nvGraphicFramePr>
        <p:xfrm>
          <a:off x="1415222" y="905947"/>
          <a:ext cx="3263747" cy="54534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3D52B2BC-8CF3-DA48-AB3B-D8AE62235AC6}"/>
              </a:ext>
            </a:extLst>
          </p:cNvPr>
          <p:cNvGraphicFramePr>
            <a:graphicFrameLocks/>
          </p:cNvGraphicFramePr>
          <p:nvPr>
            <p:extLst/>
          </p:nvPr>
        </p:nvGraphicFramePr>
        <p:xfrm>
          <a:off x="4315630" y="905947"/>
          <a:ext cx="3375955" cy="54847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304F96F1-064C-E046-B4B2-D6581B043EE0}"/>
              </a:ext>
            </a:extLst>
          </p:cNvPr>
          <p:cNvGraphicFramePr>
            <a:graphicFrameLocks/>
          </p:cNvGraphicFramePr>
          <p:nvPr>
            <p:extLst/>
          </p:nvPr>
        </p:nvGraphicFramePr>
        <p:xfrm>
          <a:off x="7324932" y="858834"/>
          <a:ext cx="3289347" cy="55971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81684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6"/>
            <a:ext cx="8915075" cy="448406"/>
          </a:xfrm>
        </p:spPr>
        <p:txBody>
          <a:bodyPr/>
          <a:lstStyle/>
          <a:p>
            <a:r>
              <a:rPr lang="en-GB" sz="1428" b="1" dirty="0"/>
              <a:t>Targeted Expense Analysis reveals an interesting trend; Overall Costs sharply increase from December, with Chemical Expenses, contributing $78 M (25%) towards the overall cost-base. </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743689"/>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DE70D6F4-3861-314A-BB5A-DF73C5771974}"/>
              </a:ext>
            </a:extLst>
          </p:cNvPr>
          <p:cNvGraphicFramePr>
            <a:graphicFrameLocks/>
          </p:cNvGraphicFramePr>
          <p:nvPr>
            <p:extLst/>
          </p:nvPr>
        </p:nvGraphicFramePr>
        <p:xfrm>
          <a:off x="7493473" y="1469727"/>
          <a:ext cx="3781368" cy="41047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644DD522-5590-B245-B7A0-27FC3D9E8913}"/>
              </a:ext>
            </a:extLst>
          </p:cNvPr>
          <p:cNvGraphicFramePr>
            <a:graphicFrameLocks/>
          </p:cNvGraphicFramePr>
          <p:nvPr>
            <p:extLst>
              <p:ext uri="{D42A27DB-BD31-4B8C-83A1-F6EECF244321}">
                <p14:modId xmlns:p14="http://schemas.microsoft.com/office/powerpoint/2010/main" val="1478000534"/>
              </p:ext>
            </p:extLst>
          </p:nvPr>
        </p:nvGraphicFramePr>
        <p:xfrm>
          <a:off x="356196" y="637312"/>
          <a:ext cx="6839817" cy="6132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83381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439479"/>
          </a:xfrm>
        </p:spPr>
        <p:txBody>
          <a:bodyPr/>
          <a:lstStyle/>
          <a:p>
            <a:r>
              <a:rPr lang="en-GB" sz="1428" b="1" dirty="0"/>
              <a:t>Further analysis singles-out </a:t>
            </a:r>
            <a:r>
              <a:rPr lang="en-GB" sz="1428" b="1" dirty="0" err="1"/>
              <a:t>Surjek</a:t>
            </a:r>
            <a:r>
              <a:rPr lang="en-GB" sz="1428" b="1" dirty="0"/>
              <a:t> with $179M (56%) worth of expenses, contrasted to a much lower spend from </a:t>
            </a:r>
            <a:r>
              <a:rPr lang="en-GB" sz="1428" b="1" dirty="0" err="1"/>
              <a:t>Kootha</a:t>
            </a:r>
            <a:r>
              <a:rPr lang="en-GB" sz="1428" b="1" dirty="0"/>
              <a:t> ($51 M) and </a:t>
            </a:r>
            <a:r>
              <a:rPr lang="en-GB" sz="1428" b="1" dirty="0" err="1"/>
              <a:t>Jutik</a:t>
            </a:r>
            <a:r>
              <a:rPr lang="en-GB" sz="1428" b="1" dirty="0"/>
              <a:t>   ($91M), largely due to lower Chemical and Labour Expenditure. </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743689"/>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716A3725-9A76-C640-9F69-96A9473F8677}"/>
              </a:ext>
            </a:extLst>
          </p:cNvPr>
          <p:cNvGraphicFramePr>
            <a:graphicFrameLocks/>
          </p:cNvGraphicFramePr>
          <p:nvPr>
            <p:extLst/>
          </p:nvPr>
        </p:nvGraphicFramePr>
        <p:xfrm>
          <a:off x="1699204" y="817163"/>
          <a:ext cx="8452037" cy="26118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F85DABE2-9346-184F-9A31-155605619A59}"/>
              </a:ext>
            </a:extLst>
          </p:cNvPr>
          <p:cNvGraphicFramePr>
            <a:graphicFrameLocks/>
          </p:cNvGraphicFramePr>
          <p:nvPr>
            <p:extLst/>
          </p:nvPr>
        </p:nvGraphicFramePr>
        <p:xfrm>
          <a:off x="1524270" y="3631578"/>
          <a:ext cx="4571730" cy="27417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C03AF1B-837C-6B44-A57B-CBBDC41273C0}"/>
              </a:ext>
            </a:extLst>
          </p:cNvPr>
          <p:cNvGraphicFramePr>
            <a:graphicFrameLocks/>
          </p:cNvGraphicFramePr>
          <p:nvPr>
            <p:extLst/>
          </p:nvPr>
        </p:nvGraphicFramePr>
        <p:xfrm>
          <a:off x="6042549" y="3631578"/>
          <a:ext cx="4571730" cy="26118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04671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72609"/>
          </a:xfrm>
        </p:spPr>
        <p:txBody>
          <a:bodyPr/>
          <a:lstStyle/>
          <a:p>
            <a:r>
              <a:rPr lang="en-GB" sz="1428" b="1" dirty="0"/>
              <a:t>Drilling-down to the cost-element level, reveals an indicative relationship between water production and chemical expenditure with this being particularly pronounced for the </a:t>
            </a:r>
            <a:r>
              <a:rPr lang="en-GB" sz="1428" b="1" dirty="0" err="1"/>
              <a:t>Surjek</a:t>
            </a:r>
            <a:r>
              <a:rPr lang="en-GB" sz="1428" b="1" dirty="0"/>
              <a:t> Unit which coincidentally has the highest rate of water production. </a:t>
            </a:r>
            <a:endParaRPr lang="en-AU" sz="1428"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31627"/>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289F6718-A494-3E42-938C-ECDBB514226A}"/>
              </a:ext>
            </a:extLst>
          </p:cNvPr>
          <p:cNvGraphicFramePr>
            <a:graphicFrameLocks/>
          </p:cNvGraphicFramePr>
          <p:nvPr>
            <p:extLst/>
          </p:nvPr>
        </p:nvGraphicFramePr>
        <p:xfrm>
          <a:off x="1524269" y="944777"/>
          <a:ext cx="3076588" cy="56979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EE23C6B9-61FD-B44A-8F9B-75B32DE07467}"/>
              </a:ext>
            </a:extLst>
          </p:cNvPr>
          <p:cNvGraphicFramePr>
            <a:graphicFrameLocks/>
          </p:cNvGraphicFramePr>
          <p:nvPr>
            <p:extLst/>
          </p:nvPr>
        </p:nvGraphicFramePr>
        <p:xfrm>
          <a:off x="4403068" y="926840"/>
          <a:ext cx="3458150" cy="57664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1A52FA2B-30FA-A444-AE7B-B433957A54B6}"/>
              </a:ext>
            </a:extLst>
          </p:cNvPr>
          <p:cNvGraphicFramePr>
            <a:graphicFrameLocks/>
          </p:cNvGraphicFramePr>
          <p:nvPr>
            <p:extLst/>
          </p:nvPr>
        </p:nvGraphicFramePr>
        <p:xfrm>
          <a:off x="7639608" y="944777"/>
          <a:ext cx="3076588" cy="57664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00730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648664"/>
          </a:xfrm>
        </p:spPr>
        <p:txBody>
          <a:bodyPr/>
          <a:lstStyle/>
          <a:p>
            <a:r>
              <a:rPr lang="en-AU" sz="1377" b="1" dirty="0"/>
              <a:t>Concluding our analysis, </a:t>
            </a:r>
            <a:r>
              <a:rPr lang="en-AU" sz="1377" b="1" dirty="0" err="1"/>
              <a:t>Jutik</a:t>
            </a:r>
            <a:r>
              <a:rPr lang="en-AU" sz="1377" b="1" dirty="0"/>
              <a:t> has the highest overall EBIT contributions ($73 M), followed by </a:t>
            </a:r>
            <a:r>
              <a:rPr lang="en-AU" sz="1377" b="1" dirty="0" err="1"/>
              <a:t>Surjek</a:t>
            </a:r>
            <a:r>
              <a:rPr lang="en-AU" sz="1377" b="1" dirty="0"/>
              <a:t> ($23M) , and lastly </a:t>
            </a:r>
            <a:r>
              <a:rPr lang="en-AU" sz="1377" b="1" dirty="0" err="1"/>
              <a:t>Kootha</a:t>
            </a:r>
            <a:r>
              <a:rPr lang="en-AU" sz="1377" b="1" dirty="0"/>
              <a:t> ($20M). However, from an EBIT  Margin (%) perspective, Kootha has a higher margin than that of </a:t>
            </a:r>
            <a:r>
              <a:rPr lang="en-AU" sz="1377" b="1" dirty="0" err="1"/>
              <a:t>Surjek</a:t>
            </a:r>
            <a:r>
              <a:rPr lang="en-AU" sz="1377" b="1" dirty="0"/>
              <a:t>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662007" y="6480678"/>
            <a:ext cx="8684955" cy="382460"/>
          </a:xfrm>
          <a:prstGeom prst="rect">
            <a:avLst/>
          </a:prstGeom>
          <a:noFill/>
        </p:spPr>
        <p:txBody>
          <a:bodyPr wrap="square" rtlCol="0">
            <a:spAutoFit/>
          </a:bodyPr>
          <a:lstStyle/>
          <a:p>
            <a:pPr defTabSz="932962"/>
            <a:r>
              <a:rPr lang="en-AU" sz="918" b="1" dirty="0">
                <a:solidFill>
                  <a:srgbClr val="000000"/>
                </a:solidFill>
                <a:latin typeface="Arial"/>
                <a:ea typeface="ＭＳ Ｐゴシック"/>
              </a:rPr>
              <a:t>Note:¹ We can clearly see for Surjek over the October, November and May Periods – expenses were far higher than revenues which contributed to this lower revenue-to-expense ratio.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699204" y="931627"/>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637C8DBA-E79D-734C-B284-F4258A6C139C}"/>
              </a:ext>
            </a:extLst>
          </p:cNvPr>
          <p:cNvGraphicFramePr>
            <a:graphicFrameLocks/>
          </p:cNvGraphicFramePr>
          <p:nvPr>
            <p:extLst/>
          </p:nvPr>
        </p:nvGraphicFramePr>
        <p:xfrm>
          <a:off x="1524270" y="1156572"/>
          <a:ext cx="4955662" cy="50834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79972E19-29C8-DB4B-9722-8E5206775698}"/>
              </a:ext>
            </a:extLst>
          </p:cNvPr>
          <p:cNvGraphicFramePr>
            <a:graphicFrameLocks/>
          </p:cNvGraphicFramePr>
          <p:nvPr>
            <p:extLst/>
          </p:nvPr>
        </p:nvGraphicFramePr>
        <p:xfrm>
          <a:off x="6674641" y="1038123"/>
          <a:ext cx="3672320" cy="52018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43404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C69FC-691E-A545-BBAA-D9297FE7DD74}"/>
              </a:ext>
            </a:extLst>
          </p:cNvPr>
          <p:cNvSpPr>
            <a:spLocks noGrp="1"/>
          </p:cNvSpPr>
          <p:nvPr>
            <p:ph type="ctrTitle"/>
          </p:nvPr>
        </p:nvSpPr>
        <p:spPr>
          <a:xfrm>
            <a:off x="835790" y="938027"/>
            <a:ext cx="9268329" cy="553998"/>
          </a:xfrm>
        </p:spPr>
        <p:txBody>
          <a:bodyPr/>
          <a:lstStyle/>
          <a:p>
            <a:r>
              <a:rPr lang="en-US" sz="3600" b="1" dirty="0"/>
              <a:t>Part II: Economical Analysis</a:t>
            </a:r>
            <a:endParaRPr lang="en-US" dirty="0"/>
          </a:p>
        </p:txBody>
      </p:sp>
      <p:sp>
        <p:nvSpPr>
          <p:cNvPr id="3" name="Subtitle 2">
            <a:extLst>
              <a:ext uri="{FF2B5EF4-FFF2-40B4-BE49-F238E27FC236}">
                <a16:creationId xmlns:a16="http://schemas.microsoft.com/office/drawing/2014/main" id="{3C64A773-79D5-5245-86EC-901C75E9AC18}"/>
              </a:ext>
            </a:extLst>
          </p:cNvPr>
          <p:cNvSpPr>
            <a:spLocks noGrp="1"/>
          </p:cNvSpPr>
          <p:nvPr>
            <p:ph type="subTitle" idx="1"/>
          </p:nvPr>
        </p:nvSpPr>
        <p:spPr>
          <a:xfrm>
            <a:off x="835791" y="2123928"/>
            <a:ext cx="6489174" cy="3877985"/>
          </a:xfrm>
        </p:spPr>
        <p:txBody>
          <a:bodyPr/>
          <a:lstStyle/>
          <a:p>
            <a:r>
              <a:rPr lang="en-US" sz="2800" b="1" dirty="0"/>
              <a:t>OBJECTIVES:</a:t>
            </a:r>
          </a:p>
          <a:p>
            <a:pPr marL="342900" indent="-342900">
              <a:buFont typeface="Arial" panose="020B0604020202020204" pitchFamily="34" charset="0"/>
              <a:buChar char="•"/>
            </a:pPr>
            <a:r>
              <a:rPr lang="en-US" sz="2800" dirty="0"/>
              <a:t>Conduct economic market analysis to identify trends in price elasticity of products</a:t>
            </a:r>
          </a:p>
          <a:p>
            <a:pPr marL="342900" indent="-342900">
              <a:buFont typeface="Arial" panose="020B0604020202020204" pitchFamily="34" charset="0"/>
              <a:buChar char="•"/>
            </a:pPr>
            <a:r>
              <a:rPr lang="en-US" sz="2800" dirty="0"/>
              <a:t>Identify cost-effectiveness of sites and periods of decreased revenue</a:t>
            </a:r>
          </a:p>
          <a:p>
            <a:pPr marL="342900" indent="-342900">
              <a:buFont typeface="Arial" panose="020B0604020202020204" pitchFamily="34" charset="0"/>
              <a:buChar char="•"/>
            </a:pPr>
            <a:r>
              <a:rPr lang="en-US" sz="2800" dirty="0"/>
              <a:t>Confirmation of strategic timing of outage using What-If Analysis</a:t>
            </a:r>
          </a:p>
          <a:p>
            <a:endParaRPr lang="en-US" sz="2800" dirty="0"/>
          </a:p>
        </p:txBody>
      </p:sp>
    </p:spTree>
    <p:extLst>
      <p:ext uri="{BB962C8B-B14F-4D97-AF65-F5344CB8AC3E}">
        <p14:creationId xmlns:p14="http://schemas.microsoft.com/office/powerpoint/2010/main" val="3445514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699204" y="188907"/>
            <a:ext cx="8915075" cy="576634"/>
          </a:xfrm>
        </p:spPr>
        <p:txBody>
          <a:bodyPr/>
          <a:lstStyle/>
          <a:p>
            <a:pPr algn="just"/>
            <a:r>
              <a:rPr lang="en-GB" sz="1224" b="1" dirty="0"/>
              <a:t>With a estimated 29.95% reduction in Surjek’s Revenues ($60.58 M) due to the Maintenance Outage, Quarter 4 presents the best balance of revenue-loss mitigation with respect to market pricing, as opposed to Quarter 1 which represents the highest demand (2,273.07 GL) and Water Balancing Market Prices ($84.84).</a:t>
            </a:r>
            <a:endParaRPr lang="en-AU" sz="1224"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699204" y="912871"/>
            <a:ext cx="861056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D6DDA0C3-E0EA-9B43-A4D3-568DBE5DF204}"/>
              </a:ext>
            </a:extLst>
          </p:cNvPr>
          <p:cNvGraphicFramePr>
            <a:graphicFrameLocks/>
          </p:cNvGraphicFramePr>
          <p:nvPr>
            <p:extLst/>
          </p:nvPr>
        </p:nvGraphicFramePr>
        <p:xfrm>
          <a:off x="6096000" y="1088047"/>
          <a:ext cx="4470449" cy="52973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3942391-FF4B-DC4D-A8C9-64D946C90D51}"/>
              </a:ext>
            </a:extLst>
          </p:cNvPr>
          <p:cNvGraphicFramePr>
            <a:graphicFrameLocks/>
          </p:cNvGraphicFramePr>
          <p:nvPr>
            <p:extLst/>
          </p:nvPr>
        </p:nvGraphicFramePr>
        <p:xfrm>
          <a:off x="1703116" y="1264142"/>
          <a:ext cx="4267922" cy="51212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44528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3</TotalTime>
  <Words>2127</Words>
  <Application>Microsoft Macintosh PowerPoint</Application>
  <PresentationFormat>Widescreen</PresentationFormat>
  <Paragraphs>176</Paragraphs>
  <Slides>19</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 Unicode MS</vt:lpstr>
      <vt:lpstr>ＭＳ Ｐゴシック</vt:lpstr>
      <vt:lpstr>Arial</vt:lpstr>
      <vt:lpstr>Calibri</vt:lpstr>
      <vt:lpstr>Wingdings</vt:lpstr>
      <vt:lpstr>1_Synergy_CF_YNR013</vt:lpstr>
      <vt:lpstr>think-cell Slide</vt:lpstr>
      <vt:lpstr>Part I: Financial Analysis</vt:lpstr>
      <vt:lpstr>Segmentation of the revenues by unit, reveals that of the three (3) customer segments, Private Water Sales ($187M) are the most popular, followed by Public Sales ($147M) and lastly Residential Sales ($103M). </vt:lpstr>
      <vt:lpstr>Of the ($437M)¹ in Revenue Sales over the July-2013 to June-2014 Period, Surjek provides close to 50% of Sales Volumes ($202M), with Jutik ($164M) and Kootha ($71M) providing the remaining.</vt:lpstr>
      <vt:lpstr>Targeted Expense Analysis reveals an interesting trend; Overall Costs sharply increase from December, with Chemical Expenses, contributing $78 M (25%) towards the overall cost-base. </vt:lpstr>
      <vt:lpstr>Further analysis singles-out Surjek with $179M (56%) worth of expenses, contrasted to a much lower spend from Kootha ($51 M) and Jutik   ($91M), largely due to lower Chemical and Labour Expenditure. </vt:lpstr>
      <vt:lpstr>Drilling-down to the cost-element level, reveals an indicative relationship between water production and chemical expenditure with this being particularly pronounced for the Surjek Unit which coincidentally has the highest rate of water production. </vt:lpstr>
      <vt:lpstr>Concluding our analysis, Jutik has the highest overall EBIT contributions ($73 M), followed by Surjek ($23M) , and lastly Kootha ($20M). However, from an EBIT  Margin (%) perspective, Kootha has a higher margin than that of Surjek indicative of a lower revenue-to-expense ratio.¹ </vt:lpstr>
      <vt:lpstr>Part II: Economical Analysis</vt:lpstr>
      <vt:lpstr>With a estimated 29.95% reduction in Surjek’s Revenues ($60.58 M) due to the Maintenance Outage, Quarter 4 presents the best balance of revenue-loss mitigation with respect to market pricing, as opposed to Quarter 1 which represents the highest demand (2,273.07 GL) and Water Balancing Market Prices ($84.84).</vt:lpstr>
      <vt:lpstr>Of the three Desalination Plants, all three remain profitable at current market prices by a favourable margin; Clearly _____ is the most cost-effective $___/ML) followed by ____ ($___/ML) and lastly _____ ($____/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inelastic regardless of quantity purchased, whilst soft water is more representative of an elastic price-to-volume relationship.</vt:lpstr>
      <vt:lpstr>Lastly, when viewing the economic pricing data from an micro-perspective, it is indicative that Soft Water is seen as more of a ‘less core’ product than that of Hard Water whose price remains largely inflexible</vt:lpstr>
      <vt:lpstr>Part III: Statistical Analysis</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scatter plots show a clear signature difference between that of normal behaviour and that of Failure with pump torque, pump speed, and pump efficiency showing the 3 largest variances.</vt:lpstr>
      <vt:lpstr>Correlation analyses across datasets yield interesting insights with pump efficiency and volumetric flow meter 2 negatively correlated with Pump Failure in the Rolling Mean Data, whilst horse power and volumetric flow 1 show a subsequently strong &lt;positive/negative&gt; correlation in the Rolling St. Dev  Dataset. </vt:lpstr>
      <vt:lpstr>Lastly, analysis of the model fit reveals that with a R Squared of 77.89%, a linear model is a good fit for the data with variables Horse Power, Pump Efficiency and Volumetric Flow Meter 2 having the largest coefficients, indicative that these variables have the most immediate relationship with respect to Pump Failure behaviour. </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gmentation of the revenues by unit, reveals that of the three (3) customer segments, Private Water Sales ($187M) are the most popular, followed by Public Sales ($147M) and lastly Residential Sales ($103M). </dc:title>
  <dc:creator>Hazel Won</dc:creator>
  <cp:lastModifiedBy>Hazel Won</cp:lastModifiedBy>
  <cp:revision>2</cp:revision>
  <dcterms:created xsi:type="dcterms:W3CDTF">2022-08-24T21:51:54Z</dcterms:created>
  <dcterms:modified xsi:type="dcterms:W3CDTF">2022-08-24T22:05:26Z</dcterms:modified>
</cp:coreProperties>
</file>